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3"/>
  </p:notesMasterIdLst>
  <p:sldIdLst>
    <p:sldId id="2147375349" r:id="rId5"/>
    <p:sldId id="2147375350" r:id="rId6"/>
    <p:sldId id="2147375374" r:id="rId7"/>
    <p:sldId id="2147375381" r:id="rId8"/>
    <p:sldId id="2147375395" r:id="rId9"/>
    <p:sldId id="2147375396" r:id="rId10"/>
    <p:sldId id="2147375384" r:id="rId11"/>
    <p:sldId id="2147375404" r:id="rId12"/>
    <p:sldId id="2147375405" r:id="rId13"/>
    <p:sldId id="2147375406" r:id="rId14"/>
    <p:sldId id="2147375407" r:id="rId15"/>
    <p:sldId id="2147375387" r:id="rId16"/>
    <p:sldId id="2147375400" r:id="rId17"/>
    <p:sldId id="2147375399" r:id="rId18"/>
    <p:sldId id="2147375366" r:id="rId19"/>
    <p:sldId id="2147375403" r:id="rId20"/>
    <p:sldId id="2147375411" r:id="rId21"/>
    <p:sldId id="2147375341" r:id="rId22"/>
    <p:sldId id="2147375390" r:id="rId23"/>
    <p:sldId id="2147375391" r:id="rId24"/>
    <p:sldId id="2147375402" r:id="rId25"/>
    <p:sldId id="2147375401" r:id="rId26"/>
    <p:sldId id="2147375369" r:id="rId27"/>
    <p:sldId id="2147375379" r:id="rId28"/>
    <p:sldId id="2147375372" r:id="rId29"/>
    <p:sldId id="2147375378" r:id="rId30"/>
    <p:sldId id="2147375409" r:id="rId31"/>
    <p:sldId id="2147375410" r:id="rId32"/>
  </p:sldIdLst>
  <p:sldSz cx="12192000" cy="6858000"/>
  <p:notesSz cx="6858000" cy="9144000"/>
  <p:custDataLst>
    <p:tags r:id="rId34"/>
  </p:custDataLst>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BB4D092-1C99-AA81-5ED5-F1A65CAF3FE8}" name="Carine Rombaut" initials="CR" userId="S::carine.rombaut@crelan.be::47515c91-edba-45f7-aaba-02af63bb90e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helle Vandormael" initials="MV" lastIdx="1" clrIdx="0">
    <p:extLst>
      <p:ext uri="{19B8F6BF-5375-455C-9EA6-DF929625EA0E}">
        <p15:presenceInfo xmlns:p15="http://schemas.microsoft.com/office/powerpoint/2012/main" userId="S::michelle.vandormael@bearingpoint.com::b89fa483-11c8-44fb-8d3f-5c5d8d950e1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7DCFD"/>
    <a:srgbClr val="0A91C0"/>
    <a:srgbClr val="0992C0"/>
    <a:srgbClr val="27D4FF"/>
    <a:srgbClr val="A24FDF"/>
    <a:srgbClr val="91C353"/>
    <a:srgbClr val="000000"/>
    <a:srgbClr val="91D223"/>
    <a:srgbClr val="D2D2D2"/>
    <a:srgbClr val="128A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1979D1-6A90-764A-8CEA-995BC9CAB869}" v="138" dt="2024-03-25T17:38:56.6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48"/>
    <p:restoredTop sz="77108"/>
  </p:normalViewPr>
  <p:slideViewPr>
    <p:cSldViewPr snapToGrid="0">
      <p:cViewPr varScale="1">
        <p:scale>
          <a:sx n="106" d="100"/>
          <a:sy n="106" d="100"/>
        </p:scale>
        <p:origin x="2320" y="184"/>
      </p:cViewPr>
      <p:guideLst/>
    </p:cSldViewPr>
  </p:slid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tags" Target="tags/tag1.xml"/><Relationship Id="rId42"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 Henderyckx (AMS)" userId="09968f1a-c611-4440-b311-9e079e55d7ec" providerId="ADAL" clId="{661979D1-6A90-764A-8CEA-995BC9CAB869}"/>
    <pc:docChg chg="undo custSel addSld delSld modSld sldOrd modMainMaster">
      <pc:chgData name="Jan Henderyckx (AMS)" userId="09968f1a-c611-4440-b311-9e079e55d7ec" providerId="ADAL" clId="{661979D1-6A90-764A-8CEA-995BC9CAB869}" dt="2024-03-25T17:38:56.648" v="922"/>
      <pc:docMkLst>
        <pc:docMk/>
      </pc:docMkLst>
      <pc:sldChg chg="addSp delSp modSp mod modClrScheme chgLayout">
        <pc:chgData name="Jan Henderyckx (AMS)" userId="09968f1a-c611-4440-b311-9e079e55d7ec" providerId="ADAL" clId="{661979D1-6A90-764A-8CEA-995BC9CAB869}" dt="2024-03-25T17:33:52.953" v="916" actId="20577"/>
        <pc:sldMkLst>
          <pc:docMk/>
          <pc:sldMk cId="731153401" sldId="2147375341"/>
        </pc:sldMkLst>
        <pc:spChg chg="del mod">
          <ac:chgData name="Jan Henderyckx (AMS)" userId="09968f1a-c611-4440-b311-9e079e55d7ec" providerId="ADAL" clId="{661979D1-6A90-764A-8CEA-995BC9CAB869}" dt="2024-03-25T17:31:57.459" v="889" actId="478"/>
          <ac:spMkLst>
            <pc:docMk/>
            <pc:sldMk cId="731153401" sldId="2147375341"/>
            <ac:spMk id="7" creationId="{34C45424-7F3D-044A-D060-FDEE41F91D97}"/>
          </ac:spMkLst>
        </pc:spChg>
        <pc:spChg chg="mod topLvl">
          <ac:chgData name="Jan Henderyckx (AMS)" userId="09968f1a-c611-4440-b311-9e079e55d7ec" providerId="ADAL" clId="{661979D1-6A90-764A-8CEA-995BC9CAB869}" dt="2024-03-25T17:33:38.761" v="909" actId="14100"/>
          <ac:spMkLst>
            <pc:docMk/>
            <pc:sldMk cId="731153401" sldId="2147375341"/>
            <ac:spMk id="8" creationId="{18937836-8B92-AE38-3908-914B16F45077}"/>
          </ac:spMkLst>
        </pc:spChg>
        <pc:spChg chg="mod topLvl">
          <ac:chgData name="Jan Henderyckx (AMS)" userId="09968f1a-c611-4440-b311-9e079e55d7ec" providerId="ADAL" clId="{661979D1-6A90-764A-8CEA-995BC9CAB869}" dt="2024-03-25T17:33:19.831" v="907" actId="20577"/>
          <ac:spMkLst>
            <pc:docMk/>
            <pc:sldMk cId="731153401" sldId="2147375341"/>
            <ac:spMk id="9" creationId="{0D9B1F1B-CEA0-19DB-EF00-AD00E1491748}"/>
          </ac:spMkLst>
        </pc:spChg>
        <pc:spChg chg="del mod">
          <ac:chgData name="Jan Henderyckx (AMS)" userId="09968f1a-c611-4440-b311-9e079e55d7ec" providerId="ADAL" clId="{661979D1-6A90-764A-8CEA-995BC9CAB869}" dt="2024-03-25T17:31:54.734" v="888" actId="478"/>
          <ac:spMkLst>
            <pc:docMk/>
            <pc:sldMk cId="731153401" sldId="2147375341"/>
            <ac:spMk id="10" creationId="{38296AD8-40C4-CE47-526A-C5B8609F9F0B}"/>
          </ac:spMkLst>
        </pc:spChg>
        <pc:spChg chg="mod ord">
          <ac:chgData name="Jan Henderyckx (AMS)" userId="09968f1a-c611-4440-b311-9e079e55d7ec" providerId="ADAL" clId="{661979D1-6A90-764A-8CEA-995BC9CAB869}" dt="2024-03-25T08:44:20.101" v="277" actId="700"/>
          <ac:spMkLst>
            <pc:docMk/>
            <pc:sldMk cId="731153401" sldId="2147375341"/>
            <ac:spMk id="11" creationId="{2700A7F2-370F-9551-139F-34E02722D373}"/>
          </ac:spMkLst>
        </pc:spChg>
        <pc:spChg chg="mod topLvl">
          <ac:chgData name="Jan Henderyckx (AMS)" userId="09968f1a-c611-4440-b311-9e079e55d7ec" providerId="ADAL" clId="{661979D1-6A90-764A-8CEA-995BC9CAB869}" dt="2024-03-25T17:33:52.412" v="915" actId="20577"/>
          <ac:spMkLst>
            <pc:docMk/>
            <pc:sldMk cId="731153401" sldId="2147375341"/>
            <ac:spMk id="12" creationId="{24FB28D5-D4AA-1AB7-E8BE-380848F80CC4}"/>
          </ac:spMkLst>
        </pc:spChg>
        <pc:spChg chg="mod ord">
          <ac:chgData name="Jan Henderyckx (AMS)" userId="09968f1a-c611-4440-b311-9e079e55d7ec" providerId="ADAL" clId="{661979D1-6A90-764A-8CEA-995BC9CAB869}" dt="2024-03-25T08:44:20.101" v="277" actId="700"/>
          <ac:spMkLst>
            <pc:docMk/>
            <pc:sldMk cId="731153401" sldId="2147375341"/>
            <ac:spMk id="13" creationId="{6FD0513B-E391-1DE9-9FE7-475988277AF3}"/>
          </ac:spMkLst>
        </pc:spChg>
        <pc:spChg chg="mod topLvl">
          <ac:chgData name="Jan Henderyckx (AMS)" userId="09968f1a-c611-4440-b311-9e079e55d7ec" providerId="ADAL" clId="{661979D1-6A90-764A-8CEA-995BC9CAB869}" dt="2024-03-25T17:33:15.613" v="905" actId="165"/>
          <ac:spMkLst>
            <pc:docMk/>
            <pc:sldMk cId="731153401" sldId="2147375341"/>
            <ac:spMk id="14" creationId="{B69E2147-6A96-5200-6807-77E01B54100B}"/>
          </ac:spMkLst>
        </pc:spChg>
        <pc:spChg chg="del mod">
          <ac:chgData name="Jan Henderyckx (AMS)" userId="09968f1a-c611-4440-b311-9e079e55d7ec" providerId="ADAL" clId="{661979D1-6A90-764A-8CEA-995BC9CAB869}" dt="2024-03-25T17:31:51.942" v="887" actId="478"/>
          <ac:spMkLst>
            <pc:docMk/>
            <pc:sldMk cId="731153401" sldId="2147375341"/>
            <ac:spMk id="15" creationId="{B52EAE9C-410A-A0E5-47D4-5F26CDA4208A}"/>
          </ac:spMkLst>
        </pc:spChg>
        <pc:spChg chg="mod topLvl">
          <ac:chgData name="Jan Henderyckx (AMS)" userId="09968f1a-c611-4440-b311-9e079e55d7ec" providerId="ADAL" clId="{661979D1-6A90-764A-8CEA-995BC9CAB869}" dt="2024-03-25T17:33:52.953" v="916" actId="20577"/>
          <ac:spMkLst>
            <pc:docMk/>
            <pc:sldMk cId="731153401" sldId="2147375341"/>
            <ac:spMk id="17" creationId="{D5494D72-EED1-21E6-EC5B-303708377D47}"/>
          </ac:spMkLst>
        </pc:spChg>
        <pc:spChg chg="mod topLvl">
          <ac:chgData name="Jan Henderyckx (AMS)" userId="09968f1a-c611-4440-b311-9e079e55d7ec" providerId="ADAL" clId="{661979D1-6A90-764A-8CEA-995BC9CAB869}" dt="2024-03-25T17:33:15.613" v="905" actId="165"/>
          <ac:spMkLst>
            <pc:docMk/>
            <pc:sldMk cId="731153401" sldId="2147375341"/>
            <ac:spMk id="18" creationId="{AA9B0D9C-9E7E-558F-ED52-FCA1A865387B}"/>
          </ac:spMkLst>
        </pc:spChg>
        <pc:spChg chg="del mod">
          <ac:chgData name="Jan Henderyckx (AMS)" userId="09968f1a-c611-4440-b311-9e079e55d7ec" providerId="ADAL" clId="{661979D1-6A90-764A-8CEA-995BC9CAB869}" dt="2024-03-25T17:31:59.319" v="890" actId="478"/>
          <ac:spMkLst>
            <pc:docMk/>
            <pc:sldMk cId="731153401" sldId="2147375341"/>
            <ac:spMk id="19" creationId="{CBC8D680-F03B-4702-D646-B26DDAB3065E}"/>
          </ac:spMkLst>
        </pc:spChg>
        <pc:spChg chg="mod topLvl">
          <ac:chgData name="Jan Henderyckx (AMS)" userId="09968f1a-c611-4440-b311-9e079e55d7ec" providerId="ADAL" clId="{661979D1-6A90-764A-8CEA-995BC9CAB869}" dt="2024-03-25T17:33:38.761" v="909" actId="14100"/>
          <ac:spMkLst>
            <pc:docMk/>
            <pc:sldMk cId="731153401" sldId="2147375341"/>
            <ac:spMk id="20" creationId="{BF9B9C07-5B27-210F-94C0-A75BDE1C79E5}"/>
          </ac:spMkLst>
        </pc:spChg>
        <pc:spChg chg="mod topLvl">
          <ac:chgData name="Jan Henderyckx (AMS)" userId="09968f1a-c611-4440-b311-9e079e55d7ec" providerId="ADAL" clId="{661979D1-6A90-764A-8CEA-995BC9CAB869}" dt="2024-03-25T17:33:15.613" v="905" actId="165"/>
          <ac:spMkLst>
            <pc:docMk/>
            <pc:sldMk cId="731153401" sldId="2147375341"/>
            <ac:spMk id="21" creationId="{57B97DF6-0883-E622-6A66-53E0B48C1D20}"/>
          </ac:spMkLst>
        </pc:spChg>
        <pc:spChg chg="del mod">
          <ac:chgData name="Jan Henderyckx (AMS)" userId="09968f1a-c611-4440-b311-9e079e55d7ec" providerId="ADAL" clId="{661979D1-6A90-764A-8CEA-995BC9CAB869}" dt="2024-03-25T17:32:01.890" v="891" actId="478"/>
          <ac:spMkLst>
            <pc:docMk/>
            <pc:sldMk cId="731153401" sldId="2147375341"/>
            <ac:spMk id="22" creationId="{5F9E22CB-F97D-5DF1-14FF-42EBD8D00DD1}"/>
          </ac:spMkLst>
        </pc:spChg>
        <pc:spChg chg="mod topLvl">
          <ac:chgData name="Jan Henderyckx (AMS)" userId="09968f1a-c611-4440-b311-9e079e55d7ec" providerId="ADAL" clId="{661979D1-6A90-764A-8CEA-995BC9CAB869}" dt="2024-03-25T17:33:38.761" v="909" actId="14100"/>
          <ac:spMkLst>
            <pc:docMk/>
            <pc:sldMk cId="731153401" sldId="2147375341"/>
            <ac:spMk id="23" creationId="{B2E4C146-1B21-8D11-5669-9904CE00BA12}"/>
          </ac:spMkLst>
        </pc:spChg>
        <pc:spChg chg="mod topLvl">
          <ac:chgData name="Jan Henderyckx (AMS)" userId="09968f1a-c611-4440-b311-9e079e55d7ec" providerId="ADAL" clId="{661979D1-6A90-764A-8CEA-995BC9CAB869}" dt="2024-03-25T17:33:15.613" v="905" actId="165"/>
          <ac:spMkLst>
            <pc:docMk/>
            <pc:sldMk cId="731153401" sldId="2147375341"/>
            <ac:spMk id="24" creationId="{C73DDD74-B9A4-1BF5-1C5B-80FD24E5454B}"/>
          </ac:spMkLst>
        </pc:spChg>
        <pc:spChg chg="del mod">
          <ac:chgData name="Jan Henderyckx (AMS)" userId="09968f1a-c611-4440-b311-9e079e55d7ec" providerId="ADAL" clId="{661979D1-6A90-764A-8CEA-995BC9CAB869}" dt="2024-03-25T17:32:04.754" v="892" actId="478"/>
          <ac:spMkLst>
            <pc:docMk/>
            <pc:sldMk cId="731153401" sldId="2147375341"/>
            <ac:spMk id="25" creationId="{51E7602A-BCF3-1798-5676-BB6E5A558309}"/>
          </ac:spMkLst>
        </pc:spChg>
        <pc:spChg chg="mod topLvl">
          <ac:chgData name="Jan Henderyckx (AMS)" userId="09968f1a-c611-4440-b311-9e079e55d7ec" providerId="ADAL" clId="{661979D1-6A90-764A-8CEA-995BC9CAB869}" dt="2024-03-25T17:33:38.761" v="909" actId="14100"/>
          <ac:spMkLst>
            <pc:docMk/>
            <pc:sldMk cId="731153401" sldId="2147375341"/>
            <ac:spMk id="26" creationId="{8E9C98B3-6897-9F55-1F12-06801365F5C5}"/>
          </ac:spMkLst>
        </pc:spChg>
        <pc:spChg chg="mod topLvl">
          <ac:chgData name="Jan Henderyckx (AMS)" userId="09968f1a-c611-4440-b311-9e079e55d7ec" providerId="ADAL" clId="{661979D1-6A90-764A-8CEA-995BC9CAB869}" dt="2024-03-25T17:33:15.613" v="905" actId="165"/>
          <ac:spMkLst>
            <pc:docMk/>
            <pc:sldMk cId="731153401" sldId="2147375341"/>
            <ac:spMk id="27" creationId="{D7A003B8-7F2A-218C-8F5F-E6F80F84C708}"/>
          </ac:spMkLst>
        </pc:spChg>
        <pc:grpChg chg="del mod">
          <ac:chgData name="Jan Henderyckx (AMS)" userId="09968f1a-c611-4440-b311-9e079e55d7ec" providerId="ADAL" clId="{661979D1-6A90-764A-8CEA-995BC9CAB869}" dt="2024-03-25T17:33:15.613" v="905" actId="165"/>
          <ac:grpSpMkLst>
            <pc:docMk/>
            <pc:sldMk cId="731153401" sldId="2147375341"/>
            <ac:grpSpMk id="6" creationId="{3675EF4E-7731-70B0-412B-9586E3636138}"/>
          </ac:grpSpMkLst>
        </pc:grpChg>
        <pc:graphicFrameChg chg="add del modGraphic">
          <ac:chgData name="Jan Henderyckx (AMS)" userId="09968f1a-c611-4440-b311-9e079e55d7ec" providerId="ADAL" clId="{661979D1-6A90-764A-8CEA-995BC9CAB869}" dt="2024-03-25T17:26:59.134" v="828" actId="1032"/>
          <ac:graphicFrameMkLst>
            <pc:docMk/>
            <pc:sldMk cId="731153401" sldId="2147375341"/>
            <ac:graphicFrameMk id="2" creationId="{D07A3CEE-CE83-4C41-504F-229FC52342B5}"/>
          </ac:graphicFrameMkLst>
        </pc:graphicFrameChg>
        <pc:graphicFrameChg chg="add del mod modGraphic">
          <ac:chgData name="Jan Henderyckx (AMS)" userId="09968f1a-c611-4440-b311-9e079e55d7ec" providerId="ADAL" clId="{661979D1-6A90-764A-8CEA-995BC9CAB869}" dt="2024-03-25T17:31:48.396" v="886" actId="18245"/>
          <ac:graphicFrameMkLst>
            <pc:docMk/>
            <pc:sldMk cId="731153401" sldId="2147375341"/>
            <ac:graphicFrameMk id="3" creationId="{EF39460B-C6D2-4D46-695B-D0CBA4F00BE3}"/>
          </ac:graphicFrameMkLst>
        </pc:graphicFrameChg>
        <pc:picChg chg="add del mod">
          <ac:chgData name="Jan Henderyckx (AMS)" userId="09968f1a-c611-4440-b311-9e079e55d7ec" providerId="ADAL" clId="{661979D1-6A90-764A-8CEA-995BC9CAB869}" dt="2024-03-25T17:31:23.812" v="885" actId="478"/>
          <ac:picMkLst>
            <pc:docMk/>
            <pc:sldMk cId="731153401" sldId="2147375341"/>
            <ac:picMk id="5" creationId="{F55444EA-132C-4AC7-D072-629F299BC3D1}"/>
          </ac:picMkLst>
        </pc:picChg>
        <pc:picChg chg="del">
          <ac:chgData name="Jan Henderyckx (AMS)" userId="09968f1a-c611-4440-b311-9e079e55d7ec" providerId="ADAL" clId="{661979D1-6A90-764A-8CEA-995BC9CAB869}" dt="2024-03-25T17:26:18.218" v="826" actId="478"/>
          <ac:picMkLst>
            <pc:docMk/>
            <pc:sldMk cId="731153401" sldId="2147375341"/>
            <ac:picMk id="16" creationId="{B5AB78E7-80C8-3077-484E-A4F8D4CE0431}"/>
          </ac:picMkLst>
        </pc:picChg>
        <pc:picChg chg="add del mod">
          <ac:chgData name="Jan Henderyckx (AMS)" userId="09968f1a-c611-4440-b311-9e079e55d7ec" providerId="ADAL" clId="{661979D1-6A90-764A-8CEA-995BC9CAB869}" dt="2024-03-25T17:32:59.340" v="897" actId="478"/>
          <ac:picMkLst>
            <pc:docMk/>
            <pc:sldMk cId="731153401" sldId="2147375341"/>
            <ac:picMk id="29" creationId="{59804147-AF09-243A-F703-A543C0BF999D}"/>
          </ac:picMkLst>
        </pc:picChg>
        <pc:picChg chg="mod">
          <ac:chgData name="Jan Henderyckx (AMS)" userId="09968f1a-c611-4440-b311-9e079e55d7ec" providerId="ADAL" clId="{661979D1-6A90-764A-8CEA-995BC9CAB869}" dt="2024-03-25T17:29:38.882" v="877" actId="1076"/>
          <ac:picMkLst>
            <pc:docMk/>
            <pc:sldMk cId="731153401" sldId="2147375341"/>
            <ac:picMk id="3076" creationId="{856CBA8B-0D92-E945-0880-956E684F4A58}"/>
          </ac:picMkLst>
        </pc:picChg>
      </pc:sldChg>
      <pc:sldChg chg="addSp delSp modSp mod">
        <pc:chgData name="Jan Henderyckx (AMS)" userId="09968f1a-c611-4440-b311-9e079e55d7ec" providerId="ADAL" clId="{661979D1-6A90-764A-8CEA-995BC9CAB869}" dt="2024-03-18T16:10:38.852" v="9" actId="20577"/>
        <pc:sldMkLst>
          <pc:docMk/>
          <pc:sldMk cId="4144836058" sldId="2147375349"/>
        </pc:sldMkLst>
        <pc:spChg chg="mod">
          <ac:chgData name="Jan Henderyckx (AMS)" userId="09968f1a-c611-4440-b311-9e079e55d7ec" providerId="ADAL" clId="{661979D1-6A90-764A-8CEA-995BC9CAB869}" dt="2024-03-18T16:10:38.852" v="9" actId="20577"/>
          <ac:spMkLst>
            <pc:docMk/>
            <pc:sldMk cId="4144836058" sldId="2147375349"/>
            <ac:spMk id="2" creationId="{6DB232A8-5459-2CF6-D9CC-10DDC90BB5A6}"/>
          </ac:spMkLst>
        </pc:spChg>
        <pc:spChg chg="add del">
          <ac:chgData name="Jan Henderyckx (AMS)" userId="09968f1a-c611-4440-b311-9e079e55d7ec" providerId="ADAL" clId="{661979D1-6A90-764A-8CEA-995BC9CAB869}" dt="2024-03-18T16:09:30.404" v="1" actId="478"/>
          <ac:spMkLst>
            <pc:docMk/>
            <pc:sldMk cId="4144836058" sldId="2147375349"/>
            <ac:spMk id="7" creationId="{6CD26203-A353-842E-F909-E21BB41203DF}"/>
          </ac:spMkLst>
        </pc:spChg>
        <pc:spChg chg="add del mod">
          <ac:chgData name="Jan Henderyckx (AMS)" userId="09968f1a-c611-4440-b311-9e079e55d7ec" providerId="ADAL" clId="{661979D1-6A90-764A-8CEA-995BC9CAB869}" dt="2024-03-18T16:10:19.777" v="5" actId="478"/>
          <ac:spMkLst>
            <pc:docMk/>
            <pc:sldMk cId="4144836058" sldId="2147375349"/>
            <ac:spMk id="8" creationId="{28CA4476-B42B-E044-CC4F-388A7E984BBF}"/>
          </ac:spMkLst>
        </pc:spChg>
      </pc:sldChg>
      <pc:sldChg chg="modSp mod modClrScheme chgLayout">
        <pc:chgData name="Jan Henderyckx (AMS)" userId="09968f1a-c611-4440-b311-9e079e55d7ec" providerId="ADAL" clId="{661979D1-6A90-764A-8CEA-995BC9CAB869}" dt="2024-03-25T08:44:20.101" v="277" actId="700"/>
        <pc:sldMkLst>
          <pc:docMk/>
          <pc:sldMk cId="287438861" sldId="2147375366"/>
        </pc:sldMkLst>
        <pc:spChg chg="mod ord">
          <ac:chgData name="Jan Henderyckx (AMS)" userId="09968f1a-c611-4440-b311-9e079e55d7ec" providerId="ADAL" clId="{661979D1-6A90-764A-8CEA-995BC9CAB869}" dt="2024-03-25T08:44:20.101" v="277" actId="700"/>
          <ac:spMkLst>
            <pc:docMk/>
            <pc:sldMk cId="287438861" sldId="2147375366"/>
            <ac:spMk id="2" creationId="{59C7DE54-0439-5699-D68F-6C92CF2F07BB}"/>
          </ac:spMkLst>
        </pc:spChg>
        <pc:spChg chg="mod ord">
          <ac:chgData name="Jan Henderyckx (AMS)" userId="09968f1a-c611-4440-b311-9e079e55d7ec" providerId="ADAL" clId="{661979D1-6A90-764A-8CEA-995BC9CAB869}" dt="2024-03-25T08:44:20.101" v="277" actId="700"/>
          <ac:spMkLst>
            <pc:docMk/>
            <pc:sldMk cId="287438861" sldId="2147375366"/>
            <ac:spMk id="3" creationId="{53B4B3A9-2A60-46C0-FC19-3239181BC087}"/>
          </ac:spMkLst>
        </pc:spChg>
      </pc:sldChg>
      <pc:sldChg chg="addSp delSp modSp mod modClrScheme chgLayout">
        <pc:chgData name="Jan Henderyckx (AMS)" userId="09968f1a-c611-4440-b311-9e079e55d7ec" providerId="ADAL" clId="{661979D1-6A90-764A-8CEA-995BC9CAB869}" dt="2024-03-25T08:44:20.101" v="277" actId="700"/>
        <pc:sldMkLst>
          <pc:docMk/>
          <pc:sldMk cId="904831565" sldId="2147375369"/>
        </pc:sldMkLst>
        <pc:spChg chg="mod ord">
          <ac:chgData name="Jan Henderyckx (AMS)" userId="09968f1a-c611-4440-b311-9e079e55d7ec" providerId="ADAL" clId="{661979D1-6A90-764A-8CEA-995BC9CAB869}" dt="2024-03-25T08:44:20.101" v="277" actId="700"/>
          <ac:spMkLst>
            <pc:docMk/>
            <pc:sldMk cId="904831565" sldId="2147375369"/>
            <ac:spMk id="2" creationId="{94ED4529-2489-8810-F0A9-4A37B41D77E5}"/>
          </ac:spMkLst>
        </pc:spChg>
        <pc:spChg chg="add del mod ord">
          <ac:chgData name="Jan Henderyckx (AMS)" userId="09968f1a-c611-4440-b311-9e079e55d7ec" providerId="ADAL" clId="{661979D1-6A90-764A-8CEA-995BC9CAB869}" dt="2024-03-25T08:44:20.101" v="277" actId="700"/>
          <ac:spMkLst>
            <pc:docMk/>
            <pc:sldMk cId="904831565" sldId="2147375369"/>
            <ac:spMk id="3" creationId="{B6EA9B2F-EEC6-37B8-F0B2-12C3972F0245}"/>
          </ac:spMkLst>
        </pc:spChg>
      </pc:sldChg>
      <pc:sldChg chg="modSp del">
        <pc:chgData name="Jan Henderyckx (AMS)" userId="09968f1a-c611-4440-b311-9e079e55d7ec" providerId="ADAL" clId="{661979D1-6A90-764A-8CEA-995BC9CAB869}" dt="2024-03-25T11:39:24.238" v="426" actId="2696"/>
        <pc:sldMkLst>
          <pc:docMk/>
          <pc:sldMk cId="3874019366" sldId="2147375371"/>
        </pc:sldMkLst>
        <pc:spChg chg="mod">
          <ac:chgData name="Jan Henderyckx (AMS)" userId="09968f1a-c611-4440-b311-9e079e55d7ec" providerId="ADAL" clId="{661979D1-6A90-764A-8CEA-995BC9CAB869}" dt="2024-03-25T08:15:44.554" v="30"/>
          <ac:spMkLst>
            <pc:docMk/>
            <pc:sldMk cId="3874019366" sldId="2147375371"/>
            <ac:spMk id="2" creationId="{59C7DE54-0439-5699-D68F-6C92CF2F07BB}"/>
          </ac:spMkLst>
        </pc:spChg>
      </pc:sldChg>
      <pc:sldChg chg="addSp delSp modSp mod">
        <pc:chgData name="Jan Henderyckx (AMS)" userId="09968f1a-c611-4440-b311-9e079e55d7ec" providerId="ADAL" clId="{661979D1-6A90-764A-8CEA-995BC9CAB869}" dt="2024-03-25T08:31:25.980" v="124" actId="1076"/>
        <pc:sldMkLst>
          <pc:docMk/>
          <pc:sldMk cId="2846895696" sldId="2147375372"/>
        </pc:sldMkLst>
        <pc:picChg chg="add mod">
          <ac:chgData name="Jan Henderyckx (AMS)" userId="09968f1a-c611-4440-b311-9e079e55d7ec" providerId="ADAL" clId="{661979D1-6A90-764A-8CEA-995BC9CAB869}" dt="2024-03-25T08:31:25.980" v="124" actId="1076"/>
          <ac:picMkLst>
            <pc:docMk/>
            <pc:sldMk cId="2846895696" sldId="2147375372"/>
            <ac:picMk id="3" creationId="{2A76F27A-8DFB-6552-43DE-CBBBD81D7E70}"/>
          </ac:picMkLst>
        </pc:picChg>
        <pc:picChg chg="del">
          <ac:chgData name="Jan Henderyckx (AMS)" userId="09968f1a-c611-4440-b311-9e079e55d7ec" providerId="ADAL" clId="{661979D1-6A90-764A-8CEA-995BC9CAB869}" dt="2024-03-25T08:31:03.712" v="122" actId="478"/>
          <ac:picMkLst>
            <pc:docMk/>
            <pc:sldMk cId="2846895696" sldId="2147375372"/>
            <ac:picMk id="13" creationId="{6BBFAC07-E0D5-45AA-0619-A773AEA3CCE1}"/>
          </ac:picMkLst>
        </pc:picChg>
      </pc:sldChg>
      <pc:sldChg chg="addSp modSp">
        <pc:chgData name="Jan Henderyckx (AMS)" userId="09968f1a-c611-4440-b311-9e079e55d7ec" providerId="ADAL" clId="{661979D1-6A90-764A-8CEA-995BC9CAB869}" dt="2024-03-25T17:34:36.124" v="917"/>
        <pc:sldMkLst>
          <pc:docMk/>
          <pc:sldMk cId="191264965" sldId="2147375374"/>
        </pc:sldMkLst>
        <pc:spChg chg="add mod">
          <ac:chgData name="Jan Henderyckx (AMS)" userId="09968f1a-c611-4440-b311-9e079e55d7ec" providerId="ADAL" clId="{661979D1-6A90-764A-8CEA-995BC9CAB869}" dt="2024-03-25T17:34:36.124" v="917"/>
          <ac:spMkLst>
            <pc:docMk/>
            <pc:sldMk cId="191264965" sldId="2147375374"/>
            <ac:spMk id="2" creationId="{C379BDC6-0334-710E-A616-D3ED3BA1F722}"/>
          </ac:spMkLst>
        </pc:spChg>
      </pc:sldChg>
      <pc:sldChg chg="addSp modSp">
        <pc:chgData name="Jan Henderyckx (AMS)" userId="09968f1a-c611-4440-b311-9e079e55d7ec" providerId="ADAL" clId="{661979D1-6A90-764A-8CEA-995BC9CAB869}" dt="2024-03-25T17:38:56.648" v="922"/>
        <pc:sldMkLst>
          <pc:docMk/>
          <pc:sldMk cId="1907810980" sldId="2147375378"/>
        </pc:sldMkLst>
        <pc:spChg chg="add mod">
          <ac:chgData name="Jan Henderyckx (AMS)" userId="09968f1a-c611-4440-b311-9e079e55d7ec" providerId="ADAL" clId="{661979D1-6A90-764A-8CEA-995BC9CAB869}" dt="2024-03-25T17:38:56.648" v="922"/>
          <ac:spMkLst>
            <pc:docMk/>
            <pc:sldMk cId="1907810980" sldId="2147375378"/>
            <ac:spMk id="2" creationId="{934E3392-9419-B453-E80F-6894AD735105}"/>
          </ac:spMkLst>
        </pc:spChg>
      </pc:sldChg>
      <pc:sldChg chg="modSp mod">
        <pc:chgData name="Jan Henderyckx (AMS)" userId="09968f1a-c611-4440-b311-9e079e55d7ec" providerId="ADAL" clId="{661979D1-6A90-764A-8CEA-995BC9CAB869}" dt="2024-03-18T16:11:00.670" v="10" actId="1076"/>
        <pc:sldMkLst>
          <pc:docMk/>
          <pc:sldMk cId="2327505911" sldId="2147375381"/>
        </pc:sldMkLst>
        <pc:spChg chg="mod">
          <ac:chgData name="Jan Henderyckx (AMS)" userId="09968f1a-c611-4440-b311-9e079e55d7ec" providerId="ADAL" clId="{661979D1-6A90-764A-8CEA-995BC9CAB869}" dt="2024-03-18T16:11:00.670" v="10" actId="1076"/>
          <ac:spMkLst>
            <pc:docMk/>
            <pc:sldMk cId="2327505911" sldId="2147375381"/>
            <ac:spMk id="16" creationId="{52A15C59-7C4E-A06A-9872-CBE88DA40EEC}"/>
          </ac:spMkLst>
        </pc:spChg>
      </pc:sldChg>
      <pc:sldChg chg="addSp delSp modSp mod modClrScheme chgLayout modNotesTx">
        <pc:chgData name="Jan Henderyckx (AMS)" userId="09968f1a-c611-4440-b311-9e079e55d7ec" providerId="ADAL" clId="{661979D1-6A90-764A-8CEA-995BC9CAB869}" dt="2024-03-25T16:02:33.290" v="450"/>
        <pc:sldMkLst>
          <pc:docMk/>
          <pc:sldMk cId="1904842283" sldId="2147375384"/>
        </pc:sldMkLst>
        <pc:spChg chg="add del mod">
          <ac:chgData name="Jan Henderyckx (AMS)" userId="09968f1a-c611-4440-b311-9e079e55d7ec" providerId="ADAL" clId="{661979D1-6A90-764A-8CEA-995BC9CAB869}" dt="2024-03-25T08:24:29.464" v="85" actId="6264"/>
          <ac:spMkLst>
            <pc:docMk/>
            <pc:sldMk cId="1904842283" sldId="2147375384"/>
            <ac:spMk id="2" creationId="{97BE24C0-ACF0-DF44-C4F7-AB4FA05B5AAD}"/>
          </ac:spMkLst>
        </pc:spChg>
        <pc:spChg chg="mod ord">
          <ac:chgData name="Jan Henderyckx (AMS)" userId="09968f1a-c611-4440-b311-9e079e55d7ec" providerId="ADAL" clId="{661979D1-6A90-764A-8CEA-995BC9CAB869}" dt="2024-03-25T08:37:36.687" v="212" actId="207"/>
          <ac:spMkLst>
            <pc:docMk/>
            <pc:sldMk cId="1904842283" sldId="2147375384"/>
            <ac:spMk id="3" creationId="{36827FF0-C6F2-814F-07A2-D8DD589EEC51}"/>
          </ac:spMkLst>
        </pc:spChg>
        <pc:spChg chg="add del mod">
          <ac:chgData name="Jan Henderyckx (AMS)" userId="09968f1a-c611-4440-b311-9e079e55d7ec" providerId="ADAL" clId="{661979D1-6A90-764A-8CEA-995BC9CAB869}" dt="2024-03-25T08:24:29.464" v="85" actId="6264"/>
          <ac:spMkLst>
            <pc:docMk/>
            <pc:sldMk cId="1904842283" sldId="2147375384"/>
            <ac:spMk id="4" creationId="{7B0AA90C-7248-72BA-E8FF-C6197367596E}"/>
          </ac:spMkLst>
        </pc:spChg>
        <pc:spChg chg="mod ord">
          <ac:chgData name="Jan Henderyckx (AMS)" userId="09968f1a-c611-4440-b311-9e079e55d7ec" providerId="ADAL" clId="{661979D1-6A90-764A-8CEA-995BC9CAB869}" dt="2024-03-25T08:37:40.583" v="213" actId="14100"/>
          <ac:spMkLst>
            <pc:docMk/>
            <pc:sldMk cId="1904842283" sldId="2147375384"/>
            <ac:spMk id="10" creationId="{7F6A65F7-B373-A82C-8652-829E37FE6A3E}"/>
          </ac:spMkLst>
        </pc:spChg>
        <pc:picChg chg="add mod">
          <ac:chgData name="Jan Henderyckx (AMS)" userId="09968f1a-c611-4440-b311-9e079e55d7ec" providerId="ADAL" clId="{661979D1-6A90-764A-8CEA-995BC9CAB869}" dt="2024-03-25T08:25:55.385" v="101" actId="167"/>
          <ac:picMkLst>
            <pc:docMk/>
            <pc:sldMk cId="1904842283" sldId="2147375384"/>
            <ac:picMk id="5" creationId="{D052B956-3A7A-D32D-925F-5C3ABFEA5E65}"/>
          </ac:picMkLst>
        </pc:picChg>
        <pc:picChg chg="del">
          <ac:chgData name="Jan Henderyckx (AMS)" userId="09968f1a-c611-4440-b311-9e079e55d7ec" providerId="ADAL" clId="{661979D1-6A90-764A-8CEA-995BC9CAB869}" dt="2024-03-25T08:25:56.927" v="102" actId="478"/>
          <ac:picMkLst>
            <pc:docMk/>
            <pc:sldMk cId="1904842283" sldId="2147375384"/>
            <ac:picMk id="11" creationId="{DB0B6DD9-F862-C774-F373-7F140610EAF5}"/>
          </ac:picMkLst>
        </pc:picChg>
        <pc:picChg chg="mod">
          <ac:chgData name="Jan Henderyckx (AMS)" userId="09968f1a-c611-4440-b311-9e079e55d7ec" providerId="ADAL" clId="{661979D1-6A90-764A-8CEA-995BC9CAB869}" dt="2024-03-25T08:26:12.833" v="105" actId="14100"/>
          <ac:picMkLst>
            <pc:docMk/>
            <pc:sldMk cId="1904842283" sldId="2147375384"/>
            <ac:picMk id="9222" creationId="{3261EF78-2B2F-E64E-7978-E1203869D88C}"/>
          </ac:picMkLst>
        </pc:picChg>
      </pc:sldChg>
      <pc:sldChg chg="addSp delSp modSp mod modClrScheme chgLayout">
        <pc:chgData name="Jan Henderyckx (AMS)" userId="09968f1a-c611-4440-b311-9e079e55d7ec" providerId="ADAL" clId="{661979D1-6A90-764A-8CEA-995BC9CAB869}" dt="2024-03-25T08:44:20.101" v="277" actId="700"/>
        <pc:sldMkLst>
          <pc:docMk/>
          <pc:sldMk cId="2978523630" sldId="2147375387"/>
        </pc:sldMkLst>
        <pc:spChg chg="mod ord">
          <ac:chgData name="Jan Henderyckx (AMS)" userId="09968f1a-c611-4440-b311-9e079e55d7ec" providerId="ADAL" clId="{661979D1-6A90-764A-8CEA-995BC9CAB869}" dt="2024-03-25T08:44:20.101" v="277" actId="700"/>
          <ac:spMkLst>
            <pc:docMk/>
            <pc:sldMk cId="2978523630" sldId="2147375387"/>
            <ac:spMk id="2" creationId="{77CEED6B-68FD-2D0B-DDB9-BBABCAE3EB9B}"/>
          </ac:spMkLst>
        </pc:spChg>
        <pc:spChg chg="add del mod ord">
          <ac:chgData name="Jan Henderyckx (AMS)" userId="09968f1a-c611-4440-b311-9e079e55d7ec" providerId="ADAL" clId="{661979D1-6A90-764A-8CEA-995BC9CAB869}" dt="2024-03-25T08:44:20.101" v="277" actId="700"/>
          <ac:spMkLst>
            <pc:docMk/>
            <pc:sldMk cId="2978523630" sldId="2147375387"/>
            <ac:spMk id="3" creationId="{9882C1AD-5066-6A13-4AB1-AF9EAA7A727B}"/>
          </ac:spMkLst>
        </pc:spChg>
      </pc:sldChg>
      <pc:sldChg chg="modSp mod modClrScheme chgLayout">
        <pc:chgData name="Jan Henderyckx (AMS)" userId="09968f1a-c611-4440-b311-9e079e55d7ec" providerId="ADAL" clId="{661979D1-6A90-764A-8CEA-995BC9CAB869}" dt="2024-03-25T08:44:20.101" v="277" actId="700"/>
        <pc:sldMkLst>
          <pc:docMk/>
          <pc:sldMk cId="3460518051" sldId="2147375390"/>
        </pc:sldMkLst>
        <pc:spChg chg="mod ord">
          <ac:chgData name="Jan Henderyckx (AMS)" userId="09968f1a-c611-4440-b311-9e079e55d7ec" providerId="ADAL" clId="{661979D1-6A90-764A-8CEA-995BC9CAB869}" dt="2024-03-25T08:44:20.101" v="277" actId="700"/>
          <ac:spMkLst>
            <pc:docMk/>
            <pc:sldMk cId="3460518051" sldId="2147375390"/>
            <ac:spMk id="2" creationId="{B5335364-7725-3146-6154-2F5E6D595089}"/>
          </ac:spMkLst>
        </pc:spChg>
        <pc:spChg chg="mod ord">
          <ac:chgData name="Jan Henderyckx (AMS)" userId="09968f1a-c611-4440-b311-9e079e55d7ec" providerId="ADAL" clId="{661979D1-6A90-764A-8CEA-995BC9CAB869}" dt="2024-03-25T08:44:20.101" v="277" actId="700"/>
          <ac:spMkLst>
            <pc:docMk/>
            <pc:sldMk cId="3460518051" sldId="2147375390"/>
            <ac:spMk id="3" creationId="{770B05EB-454C-3BDC-0EB1-EA726FA19E34}"/>
          </ac:spMkLst>
        </pc:spChg>
      </pc:sldChg>
      <pc:sldChg chg="modSp mod modClrScheme chgLayout">
        <pc:chgData name="Jan Henderyckx (AMS)" userId="09968f1a-c611-4440-b311-9e079e55d7ec" providerId="ADAL" clId="{661979D1-6A90-764A-8CEA-995BC9CAB869}" dt="2024-03-25T08:44:20.101" v="277" actId="700"/>
        <pc:sldMkLst>
          <pc:docMk/>
          <pc:sldMk cId="1794000540" sldId="2147375391"/>
        </pc:sldMkLst>
        <pc:spChg chg="mod ord">
          <ac:chgData name="Jan Henderyckx (AMS)" userId="09968f1a-c611-4440-b311-9e079e55d7ec" providerId="ADAL" clId="{661979D1-6A90-764A-8CEA-995BC9CAB869}" dt="2024-03-25T08:44:20.101" v="277" actId="700"/>
          <ac:spMkLst>
            <pc:docMk/>
            <pc:sldMk cId="1794000540" sldId="2147375391"/>
            <ac:spMk id="2" creationId="{EFA4CE73-4AD1-B959-E8B5-577CEB904178}"/>
          </ac:spMkLst>
        </pc:spChg>
        <pc:spChg chg="mod ord">
          <ac:chgData name="Jan Henderyckx (AMS)" userId="09968f1a-c611-4440-b311-9e079e55d7ec" providerId="ADAL" clId="{661979D1-6A90-764A-8CEA-995BC9CAB869}" dt="2024-03-25T08:44:20.101" v="277" actId="700"/>
          <ac:spMkLst>
            <pc:docMk/>
            <pc:sldMk cId="1794000540" sldId="2147375391"/>
            <ac:spMk id="43" creationId="{20815FC8-52E5-E074-C6BC-978276070D05}"/>
          </ac:spMkLst>
        </pc:spChg>
      </pc:sldChg>
      <pc:sldChg chg="del">
        <pc:chgData name="Jan Henderyckx (AMS)" userId="09968f1a-c611-4440-b311-9e079e55d7ec" providerId="ADAL" clId="{661979D1-6A90-764A-8CEA-995BC9CAB869}" dt="2024-03-25T08:27:20.558" v="106" actId="2696"/>
        <pc:sldMkLst>
          <pc:docMk/>
          <pc:sldMk cId="1071745266" sldId="2147375394"/>
        </pc:sldMkLst>
      </pc:sldChg>
      <pc:sldChg chg="modSp mod modClrScheme chgLayout">
        <pc:chgData name="Jan Henderyckx (AMS)" userId="09968f1a-c611-4440-b311-9e079e55d7ec" providerId="ADAL" clId="{661979D1-6A90-764A-8CEA-995BC9CAB869}" dt="2024-03-25T08:20:30.740" v="69" actId="700"/>
        <pc:sldMkLst>
          <pc:docMk/>
          <pc:sldMk cId="3486005419" sldId="2147375395"/>
        </pc:sldMkLst>
        <pc:spChg chg="mod ord">
          <ac:chgData name="Jan Henderyckx (AMS)" userId="09968f1a-c611-4440-b311-9e079e55d7ec" providerId="ADAL" clId="{661979D1-6A90-764A-8CEA-995BC9CAB869}" dt="2024-03-25T08:20:30.740" v="69" actId="700"/>
          <ac:spMkLst>
            <pc:docMk/>
            <pc:sldMk cId="3486005419" sldId="2147375395"/>
            <ac:spMk id="3" creationId="{79276786-6F45-8DA0-E57C-AE0406ED4967}"/>
          </ac:spMkLst>
        </pc:spChg>
      </pc:sldChg>
      <pc:sldChg chg="addSp delSp modSp mod modClrScheme chgLayout modNotesTx">
        <pc:chgData name="Jan Henderyckx (AMS)" userId="09968f1a-c611-4440-b311-9e079e55d7ec" providerId="ADAL" clId="{661979D1-6A90-764A-8CEA-995BC9CAB869}" dt="2024-03-25T16:01:53.092" v="449"/>
        <pc:sldMkLst>
          <pc:docMk/>
          <pc:sldMk cId="1125730090" sldId="2147375396"/>
        </pc:sldMkLst>
        <pc:spChg chg="mod ord">
          <ac:chgData name="Jan Henderyckx (AMS)" userId="09968f1a-c611-4440-b311-9e079e55d7ec" providerId="ADAL" clId="{661979D1-6A90-764A-8CEA-995BC9CAB869}" dt="2024-03-25T08:20:45.360" v="70" actId="700"/>
          <ac:spMkLst>
            <pc:docMk/>
            <pc:sldMk cId="1125730090" sldId="2147375396"/>
            <ac:spMk id="3" creationId="{79276786-6F45-8DA0-E57C-AE0406ED4967}"/>
          </ac:spMkLst>
        </pc:spChg>
        <pc:spChg chg="add del mod">
          <ac:chgData name="Jan Henderyckx (AMS)" userId="09968f1a-c611-4440-b311-9e079e55d7ec" providerId="ADAL" clId="{661979D1-6A90-764A-8CEA-995BC9CAB869}" dt="2024-03-25T11:37:07.049" v="411" actId="478"/>
          <ac:spMkLst>
            <pc:docMk/>
            <pc:sldMk cId="1125730090" sldId="2147375396"/>
            <ac:spMk id="4" creationId="{7142A990-8FA6-4DE0-A734-5FAD3B2B1B9E}"/>
          </ac:spMkLst>
        </pc:spChg>
        <pc:spChg chg="add del mod">
          <ac:chgData name="Jan Henderyckx (AMS)" userId="09968f1a-c611-4440-b311-9e079e55d7ec" providerId="ADAL" clId="{661979D1-6A90-764A-8CEA-995BC9CAB869}" dt="2024-03-25T11:37:11.872" v="414" actId="478"/>
          <ac:spMkLst>
            <pc:docMk/>
            <pc:sldMk cId="1125730090" sldId="2147375396"/>
            <ac:spMk id="6" creationId="{BB022979-F1C8-DBCD-1844-3AD68005A14C}"/>
          </ac:spMkLst>
        </pc:spChg>
        <pc:spChg chg="add mod">
          <ac:chgData name="Jan Henderyckx (AMS)" userId="09968f1a-c611-4440-b311-9e079e55d7ec" providerId="ADAL" clId="{661979D1-6A90-764A-8CEA-995BC9CAB869}" dt="2024-03-25T11:38:47.390" v="425" actId="1076"/>
          <ac:spMkLst>
            <pc:docMk/>
            <pc:sldMk cId="1125730090" sldId="2147375396"/>
            <ac:spMk id="10" creationId="{18CC95E1-8D50-6698-FFBD-7E0D1FC6C03F}"/>
          </ac:spMkLst>
        </pc:spChg>
        <pc:grpChg chg="mod">
          <ac:chgData name="Jan Henderyckx (AMS)" userId="09968f1a-c611-4440-b311-9e079e55d7ec" providerId="ADAL" clId="{661979D1-6A90-764A-8CEA-995BC9CAB869}" dt="2024-03-25T11:38:19.574" v="419" actId="1076"/>
          <ac:grpSpMkLst>
            <pc:docMk/>
            <pc:sldMk cId="1125730090" sldId="2147375396"/>
            <ac:grpSpMk id="16" creationId="{F9CCAB65-F631-6991-6C30-D1B2251BAF83}"/>
          </ac:grpSpMkLst>
        </pc:grpChg>
        <pc:grpChg chg="mod">
          <ac:chgData name="Jan Henderyckx (AMS)" userId="09968f1a-c611-4440-b311-9e079e55d7ec" providerId="ADAL" clId="{661979D1-6A90-764A-8CEA-995BC9CAB869}" dt="2024-03-25T11:35:21.371" v="405" actId="1076"/>
          <ac:grpSpMkLst>
            <pc:docMk/>
            <pc:sldMk cId="1125730090" sldId="2147375396"/>
            <ac:grpSpMk id="25" creationId="{509F671A-FBCC-1B62-9A1B-0DA3BF554911}"/>
          </ac:grpSpMkLst>
        </pc:grpChg>
        <pc:picChg chg="add mod">
          <ac:chgData name="Jan Henderyckx (AMS)" userId="09968f1a-c611-4440-b311-9e079e55d7ec" providerId="ADAL" clId="{661979D1-6A90-764A-8CEA-995BC9CAB869}" dt="2024-03-25T11:38:13.841" v="417" actId="1076"/>
          <ac:picMkLst>
            <pc:docMk/>
            <pc:sldMk cId="1125730090" sldId="2147375396"/>
            <ac:picMk id="8" creationId="{95CFB005-B345-93B1-D084-7925FB3BB46B}"/>
          </ac:picMkLst>
        </pc:picChg>
        <pc:picChg chg="mod">
          <ac:chgData name="Jan Henderyckx (AMS)" userId="09968f1a-c611-4440-b311-9e079e55d7ec" providerId="ADAL" clId="{661979D1-6A90-764A-8CEA-995BC9CAB869}" dt="2024-03-25T11:38:15.339" v="418" actId="1076"/>
          <ac:picMkLst>
            <pc:docMk/>
            <pc:sldMk cId="1125730090" sldId="2147375396"/>
            <ac:picMk id="26" creationId="{4CFF9916-07A8-BCAF-0793-BFEC72CDB6BF}"/>
          </ac:picMkLst>
        </pc:picChg>
        <pc:picChg chg="add del mod">
          <ac:chgData name="Jan Henderyckx (AMS)" userId="09968f1a-c611-4440-b311-9e079e55d7ec" providerId="ADAL" clId="{661979D1-6A90-764A-8CEA-995BC9CAB869}" dt="2024-03-25T11:35:11.644" v="404" actId="478"/>
          <ac:picMkLst>
            <pc:docMk/>
            <pc:sldMk cId="1125730090" sldId="2147375396"/>
            <ac:picMk id="1026" creationId="{411F28A8-52F5-87DB-7029-28779761FCCC}"/>
          </ac:picMkLst>
        </pc:picChg>
      </pc:sldChg>
      <pc:sldChg chg="del">
        <pc:chgData name="Jan Henderyckx (AMS)" userId="09968f1a-c611-4440-b311-9e079e55d7ec" providerId="ADAL" clId="{661979D1-6A90-764A-8CEA-995BC9CAB869}" dt="2024-03-25T08:24:13.108" v="82" actId="2696"/>
        <pc:sldMkLst>
          <pc:docMk/>
          <pc:sldMk cId="2531785109" sldId="2147375397"/>
        </pc:sldMkLst>
      </pc:sldChg>
      <pc:sldChg chg="del ord">
        <pc:chgData name="Jan Henderyckx (AMS)" userId="09968f1a-c611-4440-b311-9e079e55d7ec" providerId="ADAL" clId="{661979D1-6A90-764A-8CEA-995BC9CAB869}" dt="2024-03-25T08:36:19.373" v="199" actId="2696"/>
        <pc:sldMkLst>
          <pc:docMk/>
          <pc:sldMk cId="2200910269" sldId="2147375398"/>
        </pc:sldMkLst>
      </pc:sldChg>
      <pc:sldChg chg="modSp mod modClrScheme chgLayout">
        <pc:chgData name="Jan Henderyckx (AMS)" userId="09968f1a-c611-4440-b311-9e079e55d7ec" providerId="ADAL" clId="{661979D1-6A90-764A-8CEA-995BC9CAB869}" dt="2024-03-25T08:44:20.101" v="277" actId="700"/>
        <pc:sldMkLst>
          <pc:docMk/>
          <pc:sldMk cId="1935157569" sldId="2147375399"/>
        </pc:sldMkLst>
        <pc:spChg chg="mod ord">
          <ac:chgData name="Jan Henderyckx (AMS)" userId="09968f1a-c611-4440-b311-9e079e55d7ec" providerId="ADAL" clId="{661979D1-6A90-764A-8CEA-995BC9CAB869}" dt="2024-03-25T08:44:20.101" v="277" actId="700"/>
          <ac:spMkLst>
            <pc:docMk/>
            <pc:sldMk cId="1935157569" sldId="2147375399"/>
            <ac:spMk id="2" creationId="{430E3280-B6FB-39BD-81B5-D489A261F054}"/>
          </ac:spMkLst>
        </pc:spChg>
        <pc:spChg chg="mod ord">
          <ac:chgData name="Jan Henderyckx (AMS)" userId="09968f1a-c611-4440-b311-9e079e55d7ec" providerId="ADAL" clId="{661979D1-6A90-764A-8CEA-995BC9CAB869}" dt="2024-03-25T08:44:20.101" v="277" actId="700"/>
          <ac:spMkLst>
            <pc:docMk/>
            <pc:sldMk cId="1935157569" sldId="2147375399"/>
            <ac:spMk id="3" creationId="{C57BCAB7-EAF4-EE24-EE84-F3251D585F2A}"/>
          </ac:spMkLst>
        </pc:spChg>
      </pc:sldChg>
      <pc:sldChg chg="addSp delSp modSp mod modClrScheme chgLayout">
        <pc:chgData name="Jan Henderyckx (AMS)" userId="09968f1a-c611-4440-b311-9e079e55d7ec" providerId="ADAL" clId="{661979D1-6A90-764A-8CEA-995BC9CAB869}" dt="2024-03-25T17:38:40.882" v="919" actId="1076"/>
        <pc:sldMkLst>
          <pc:docMk/>
          <pc:sldMk cId="1930167741" sldId="2147375400"/>
        </pc:sldMkLst>
        <pc:spChg chg="mod ord">
          <ac:chgData name="Jan Henderyckx (AMS)" userId="09968f1a-c611-4440-b311-9e079e55d7ec" providerId="ADAL" clId="{661979D1-6A90-764A-8CEA-995BC9CAB869}" dt="2024-03-25T08:44:20.101" v="277" actId="700"/>
          <ac:spMkLst>
            <pc:docMk/>
            <pc:sldMk cId="1930167741" sldId="2147375400"/>
            <ac:spMk id="2" creationId="{77CEED6B-68FD-2D0B-DDB9-BBABCAE3EB9B}"/>
          </ac:spMkLst>
        </pc:spChg>
        <pc:spChg chg="mod ord">
          <ac:chgData name="Jan Henderyckx (AMS)" userId="09968f1a-c611-4440-b311-9e079e55d7ec" providerId="ADAL" clId="{661979D1-6A90-764A-8CEA-995BC9CAB869}" dt="2024-03-25T17:04:02.234" v="612" actId="404"/>
          <ac:spMkLst>
            <pc:docMk/>
            <pc:sldMk cId="1930167741" sldId="2147375400"/>
            <ac:spMk id="3" creationId="{D3E0B620-F9BA-8158-FB7A-7981DA1574C6}"/>
          </ac:spMkLst>
        </pc:spChg>
        <pc:spChg chg="add">
          <ac:chgData name="Jan Henderyckx (AMS)" userId="09968f1a-c611-4440-b311-9e079e55d7ec" providerId="ADAL" clId="{661979D1-6A90-764A-8CEA-995BC9CAB869}" dt="2024-03-25T17:08:45.128" v="615"/>
          <ac:spMkLst>
            <pc:docMk/>
            <pc:sldMk cId="1930167741" sldId="2147375400"/>
            <ac:spMk id="10" creationId="{4CD0CDEA-591B-0E5F-7F80-47EAF1618AB5}"/>
          </ac:spMkLst>
        </pc:spChg>
        <pc:spChg chg="add mod">
          <ac:chgData name="Jan Henderyckx (AMS)" userId="09968f1a-c611-4440-b311-9e079e55d7ec" providerId="ADAL" clId="{661979D1-6A90-764A-8CEA-995BC9CAB869}" dt="2024-03-25T17:38:40.882" v="919" actId="1076"/>
          <ac:spMkLst>
            <pc:docMk/>
            <pc:sldMk cId="1930167741" sldId="2147375400"/>
            <ac:spMk id="14" creationId="{0FC2482A-EA79-5F4F-C72D-10EA1D5E2713}"/>
          </ac:spMkLst>
        </pc:spChg>
        <pc:grpChg chg="add mod">
          <ac:chgData name="Jan Henderyckx (AMS)" userId="09968f1a-c611-4440-b311-9e079e55d7ec" providerId="ADAL" clId="{661979D1-6A90-764A-8CEA-995BC9CAB869}" dt="2024-03-25T17:07:42.992" v="614" actId="14100"/>
          <ac:grpSpMkLst>
            <pc:docMk/>
            <pc:sldMk cId="1930167741" sldId="2147375400"/>
            <ac:grpSpMk id="9" creationId="{07D5F760-331F-4A6D-5BE1-8C9449258133}"/>
          </ac:grpSpMkLst>
        </pc:grpChg>
        <pc:picChg chg="add del mod">
          <ac:chgData name="Jan Henderyckx (AMS)" userId="09968f1a-c611-4440-b311-9e079e55d7ec" providerId="ADAL" clId="{661979D1-6A90-764A-8CEA-995BC9CAB869}" dt="2024-03-25T17:09:08.971" v="620" actId="21"/>
          <ac:picMkLst>
            <pc:docMk/>
            <pc:sldMk cId="1930167741" sldId="2147375400"/>
            <ac:picMk id="11" creationId="{3750AEB9-E834-046B-7AD8-8864878B7730}"/>
          </ac:picMkLst>
        </pc:picChg>
        <pc:picChg chg="add mod">
          <ac:chgData name="Jan Henderyckx (AMS)" userId="09968f1a-c611-4440-b311-9e079e55d7ec" providerId="ADAL" clId="{661979D1-6A90-764A-8CEA-995BC9CAB869}" dt="2024-03-25T17:10:03.941" v="626" actId="29295"/>
          <ac:picMkLst>
            <pc:docMk/>
            <pc:sldMk cId="1930167741" sldId="2147375400"/>
            <ac:picMk id="13" creationId="{BC83D3D5-57E7-B944-1B69-C9586463F5CA}"/>
          </ac:picMkLst>
        </pc:picChg>
      </pc:sldChg>
      <pc:sldChg chg="modSp mod modClrScheme chgLayout">
        <pc:chgData name="Jan Henderyckx (AMS)" userId="09968f1a-c611-4440-b311-9e079e55d7ec" providerId="ADAL" clId="{661979D1-6A90-764A-8CEA-995BC9CAB869}" dt="2024-03-25T08:44:20.101" v="277" actId="700"/>
        <pc:sldMkLst>
          <pc:docMk/>
          <pc:sldMk cId="2654434624" sldId="2147375401"/>
        </pc:sldMkLst>
        <pc:spChg chg="mod ord">
          <ac:chgData name="Jan Henderyckx (AMS)" userId="09968f1a-c611-4440-b311-9e079e55d7ec" providerId="ADAL" clId="{661979D1-6A90-764A-8CEA-995BC9CAB869}" dt="2024-03-25T08:44:20.101" v="277" actId="700"/>
          <ac:spMkLst>
            <pc:docMk/>
            <pc:sldMk cId="2654434624" sldId="2147375401"/>
            <ac:spMk id="2" creationId="{0E13D6F6-C0E5-8BDD-F247-094F0224139D}"/>
          </ac:spMkLst>
        </pc:spChg>
        <pc:spChg chg="mod ord">
          <ac:chgData name="Jan Henderyckx (AMS)" userId="09968f1a-c611-4440-b311-9e079e55d7ec" providerId="ADAL" clId="{661979D1-6A90-764A-8CEA-995BC9CAB869}" dt="2024-03-25T08:44:20.101" v="277" actId="700"/>
          <ac:spMkLst>
            <pc:docMk/>
            <pc:sldMk cId="2654434624" sldId="2147375401"/>
            <ac:spMk id="3" creationId="{2A48AE29-06F8-67CD-0BCC-1B2E18BDD603}"/>
          </ac:spMkLst>
        </pc:spChg>
      </pc:sldChg>
      <pc:sldChg chg="modSp mod modClrScheme chgLayout">
        <pc:chgData name="Jan Henderyckx (AMS)" userId="09968f1a-c611-4440-b311-9e079e55d7ec" providerId="ADAL" clId="{661979D1-6A90-764A-8CEA-995BC9CAB869}" dt="2024-03-25T08:44:20.101" v="277" actId="700"/>
        <pc:sldMkLst>
          <pc:docMk/>
          <pc:sldMk cId="3417356564" sldId="2147375402"/>
        </pc:sldMkLst>
        <pc:spChg chg="mod ord">
          <ac:chgData name="Jan Henderyckx (AMS)" userId="09968f1a-c611-4440-b311-9e079e55d7ec" providerId="ADAL" clId="{661979D1-6A90-764A-8CEA-995BC9CAB869}" dt="2024-03-25T08:44:20.101" v="277" actId="700"/>
          <ac:spMkLst>
            <pc:docMk/>
            <pc:sldMk cId="3417356564" sldId="2147375402"/>
            <ac:spMk id="2" creationId="{BE7063DA-F1E5-3B4C-84D2-F654D95F5F4B}"/>
          </ac:spMkLst>
        </pc:spChg>
        <pc:spChg chg="mod ord">
          <ac:chgData name="Jan Henderyckx (AMS)" userId="09968f1a-c611-4440-b311-9e079e55d7ec" providerId="ADAL" clId="{661979D1-6A90-764A-8CEA-995BC9CAB869}" dt="2024-03-25T08:44:20.101" v="277" actId="700"/>
          <ac:spMkLst>
            <pc:docMk/>
            <pc:sldMk cId="3417356564" sldId="2147375402"/>
            <ac:spMk id="3" creationId="{C8341B59-D1CF-41D6-D3F5-97DF86575710}"/>
          </ac:spMkLst>
        </pc:spChg>
      </pc:sldChg>
      <pc:sldChg chg="addSp modSp mod modClrScheme chgLayout">
        <pc:chgData name="Jan Henderyckx (AMS)" userId="09968f1a-c611-4440-b311-9e079e55d7ec" providerId="ADAL" clId="{661979D1-6A90-764A-8CEA-995BC9CAB869}" dt="2024-03-25T17:38:44.193" v="920"/>
        <pc:sldMkLst>
          <pc:docMk/>
          <pc:sldMk cId="944885833" sldId="2147375403"/>
        </pc:sldMkLst>
        <pc:spChg chg="mod ord">
          <ac:chgData name="Jan Henderyckx (AMS)" userId="09968f1a-c611-4440-b311-9e079e55d7ec" providerId="ADAL" clId="{661979D1-6A90-764A-8CEA-995BC9CAB869}" dt="2024-03-25T08:44:20.101" v="277" actId="700"/>
          <ac:spMkLst>
            <pc:docMk/>
            <pc:sldMk cId="944885833" sldId="2147375403"/>
            <ac:spMk id="2" creationId="{59C7DE54-0439-5699-D68F-6C92CF2F07BB}"/>
          </ac:spMkLst>
        </pc:spChg>
        <pc:spChg chg="mod ord">
          <ac:chgData name="Jan Henderyckx (AMS)" userId="09968f1a-c611-4440-b311-9e079e55d7ec" providerId="ADAL" clId="{661979D1-6A90-764A-8CEA-995BC9CAB869}" dt="2024-03-25T08:44:20.101" v="277" actId="700"/>
          <ac:spMkLst>
            <pc:docMk/>
            <pc:sldMk cId="944885833" sldId="2147375403"/>
            <ac:spMk id="3" creationId="{53B4B3A9-2A60-46C0-FC19-3239181BC087}"/>
          </ac:spMkLst>
        </pc:spChg>
        <pc:spChg chg="add mod">
          <ac:chgData name="Jan Henderyckx (AMS)" userId="09968f1a-c611-4440-b311-9e079e55d7ec" providerId="ADAL" clId="{661979D1-6A90-764A-8CEA-995BC9CAB869}" dt="2024-03-25T17:38:44.193" v="920"/>
          <ac:spMkLst>
            <pc:docMk/>
            <pc:sldMk cId="944885833" sldId="2147375403"/>
            <ac:spMk id="4" creationId="{349B3060-1EB5-C327-0F04-DC929300AA87}"/>
          </ac:spMkLst>
        </pc:spChg>
      </pc:sldChg>
      <pc:sldChg chg="add del">
        <pc:chgData name="Jan Henderyckx (AMS)" userId="09968f1a-c611-4440-b311-9e079e55d7ec" providerId="ADAL" clId="{661979D1-6A90-764A-8CEA-995BC9CAB869}" dt="2024-03-25T08:08:56.291" v="12"/>
        <pc:sldMkLst>
          <pc:docMk/>
          <pc:sldMk cId="3068030851" sldId="2147375404"/>
        </pc:sldMkLst>
      </pc:sldChg>
      <pc:sldChg chg="addSp delSp modSp add mod modClrScheme delCm chgLayout modNotesTx">
        <pc:chgData name="Jan Henderyckx (AMS)" userId="09968f1a-c611-4440-b311-9e079e55d7ec" providerId="ADAL" clId="{661979D1-6A90-764A-8CEA-995BC9CAB869}" dt="2024-03-25T16:53:29.492" v="609" actId="1076"/>
        <pc:sldMkLst>
          <pc:docMk/>
          <pc:sldMk cId="3605975702" sldId="2147375404"/>
        </pc:sldMkLst>
        <pc:spChg chg="mod ord">
          <ac:chgData name="Jan Henderyckx (AMS)" userId="09968f1a-c611-4440-b311-9e079e55d7ec" providerId="ADAL" clId="{661979D1-6A90-764A-8CEA-995BC9CAB869}" dt="2024-03-25T13:59:53.245" v="427" actId="20577"/>
          <ac:spMkLst>
            <pc:docMk/>
            <pc:sldMk cId="3605975702" sldId="2147375404"/>
            <ac:spMk id="2" creationId="{E838D62C-DE1F-91EA-2B59-82BB0275020E}"/>
          </ac:spMkLst>
        </pc:spChg>
        <pc:spChg chg="mod ord">
          <ac:chgData name="Jan Henderyckx (AMS)" userId="09968f1a-c611-4440-b311-9e079e55d7ec" providerId="ADAL" clId="{661979D1-6A90-764A-8CEA-995BC9CAB869}" dt="2024-03-25T16:53:29.492" v="609" actId="1076"/>
          <ac:spMkLst>
            <pc:docMk/>
            <pc:sldMk cId="3605975702" sldId="2147375404"/>
            <ac:spMk id="3" creationId="{36827FF0-C6F2-814F-07A2-D8DD589EEC51}"/>
          </ac:spMkLst>
        </pc:spChg>
        <pc:spChg chg="add del mod">
          <ac:chgData name="Jan Henderyckx (AMS)" userId="09968f1a-c611-4440-b311-9e079e55d7ec" providerId="ADAL" clId="{661979D1-6A90-764A-8CEA-995BC9CAB869}" dt="2024-03-25T08:23:22.328" v="76" actId="6264"/>
          <ac:spMkLst>
            <pc:docMk/>
            <pc:sldMk cId="3605975702" sldId="2147375404"/>
            <ac:spMk id="4" creationId="{CEC48D66-0897-B9BF-28D5-8C795DCC48E8}"/>
          </ac:spMkLst>
        </pc:spChg>
        <pc:spChg chg="add del mod">
          <ac:chgData name="Jan Henderyckx (AMS)" userId="09968f1a-c611-4440-b311-9e079e55d7ec" providerId="ADAL" clId="{661979D1-6A90-764A-8CEA-995BC9CAB869}" dt="2024-03-25T08:16:57.323" v="42" actId="6264"/>
          <ac:spMkLst>
            <pc:docMk/>
            <pc:sldMk cId="3605975702" sldId="2147375404"/>
            <ac:spMk id="4" creationId="{FEA153F7-79AE-A030-A1CE-22CA962292D5}"/>
          </ac:spMkLst>
        </pc:spChg>
        <pc:spChg chg="add del mod">
          <ac:chgData name="Jan Henderyckx (AMS)" userId="09968f1a-c611-4440-b311-9e079e55d7ec" providerId="ADAL" clId="{661979D1-6A90-764A-8CEA-995BC9CAB869}" dt="2024-03-25T08:23:23.022" v="77" actId="6264"/>
          <ac:spMkLst>
            <pc:docMk/>
            <pc:sldMk cId="3605975702" sldId="2147375404"/>
            <ac:spMk id="5" creationId="{A5BD85F6-6899-839F-5022-6C67C64592BB}"/>
          </ac:spMkLst>
        </pc:spChg>
        <pc:spChg chg="mod ord">
          <ac:chgData name="Jan Henderyckx (AMS)" userId="09968f1a-c611-4440-b311-9e079e55d7ec" providerId="ADAL" clId="{661979D1-6A90-764A-8CEA-995BC9CAB869}" dt="2024-03-25T08:25:23.375" v="97" actId="700"/>
          <ac:spMkLst>
            <pc:docMk/>
            <pc:sldMk cId="3605975702" sldId="2147375404"/>
            <ac:spMk id="6" creationId="{DEFE27AA-2234-2A3D-86E9-415D2562FC69}"/>
          </ac:spMkLst>
        </pc:spChg>
        <pc:spChg chg="del mod ord">
          <ac:chgData name="Jan Henderyckx (AMS)" userId="09968f1a-c611-4440-b311-9e079e55d7ec" providerId="ADAL" clId="{661979D1-6A90-764A-8CEA-995BC9CAB869}" dt="2024-03-25T08:19:29.503" v="46" actId="478"/>
          <ac:spMkLst>
            <pc:docMk/>
            <pc:sldMk cId="3605975702" sldId="2147375404"/>
            <ac:spMk id="7" creationId="{AB96C2FC-B10E-C631-44D7-8DF5B9C79486}"/>
          </ac:spMkLst>
        </pc:spChg>
        <pc:spChg chg="mod ord">
          <ac:chgData name="Jan Henderyckx (AMS)" userId="09968f1a-c611-4440-b311-9e079e55d7ec" providerId="ADAL" clId="{661979D1-6A90-764A-8CEA-995BC9CAB869}" dt="2024-03-25T08:25:23.375" v="97" actId="700"/>
          <ac:spMkLst>
            <pc:docMk/>
            <pc:sldMk cId="3605975702" sldId="2147375404"/>
            <ac:spMk id="8" creationId="{183D78E3-B449-4D7B-BD09-5B0C79498DA3}"/>
          </ac:spMkLst>
        </pc:spChg>
        <pc:spChg chg="add del mod">
          <ac:chgData name="Jan Henderyckx (AMS)" userId="09968f1a-c611-4440-b311-9e079e55d7ec" providerId="ADAL" clId="{661979D1-6A90-764A-8CEA-995BC9CAB869}" dt="2024-03-25T08:23:23.206" v="78" actId="6264"/>
          <ac:spMkLst>
            <pc:docMk/>
            <pc:sldMk cId="3605975702" sldId="2147375404"/>
            <ac:spMk id="9" creationId="{2A8344A2-F08B-DB75-9FAD-8FB7D1D834C4}"/>
          </ac:spMkLst>
        </pc:spChg>
        <pc:spChg chg="del">
          <ac:chgData name="Jan Henderyckx (AMS)" userId="09968f1a-c611-4440-b311-9e079e55d7ec" providerId="ADAL" clId="{661979D1-6A90-764A-8CEA-995BC9CAB869}" dt="2024-03-25T08:34:36.461" v="177" actId="478"/>
          <ac:spMkLst>
            <pc:docMk/>
            <pc:sldMk cId="3605975702" sldId="2147375404"/>
            <ac:spMk id="10" creationId="{D30652B9-239A-7080-63EF-1AE9DD87395D}"/>
          </ac:spMkLst>
        </pc:spChg>
        <pc:spChg chg="add mod">
          <ac:chgData name="Jan Henderyckx (AMS)" userId="09968f1a-c611-4440-b311-9e079e55d7ec" providerId="ADAL" clId="{661979D1-6A90-764A-8CEA-995BC9CAB869}" dt="2024-03-25T08:34:41.405" v="179" actId="167"/>
          <ac:spMkLst>
            <pc:docMk/>
            <pc:sldMk cId="3605975702" sldId="2147375404"/>
            <ac:spMk id="12" creationId="{1D0F926A-27A2-E57C-9CA5-7D84116A43AF}"/>
          </ac:spMkLst>
        </pc:spChg>
        <pc:spChg chg="add mod">
          <ac:chgData name="Jan Henderyckx (AMS)" userId="09968f1a-c611-4440-b311-9e079e55d7ec" providerId="ADAL" clId="{661979D1-6A90-764A-8CEA-995BC9CAB869}" dt="2024-03-25T08:34:41.405" v="179" actId="167"/>
          <ac:spMkLst>
            <pc:docMk/>
            <pc:sldMk cId="3605975702" sldId="2147375404"/>
            <ac:spMk id="14" creationId="{7503082E-C06D-3AD8-DECB-39B3C83193F6}"/>
          </ac:spMkLst>
        </pc:spChg>
        <pc:spChg chg="del mod ord">
          <ac:chgData name="Jan Henderyckx (AMS)" userId="09968f1a-c611-4440-b311-9e079e55d7ec" providerId="ADAL" clId="{661979D1-6A90-764A-8CEA-995BC9CAB869}" dt="2024-03-25T08:23:19.007" v="75" actId="478"/>
          <ac:spMkLst>
            <pc:docMk/>
            <pc:sldMk cId="3605975702" sldId="2147375404"/>
            <ac:spMk id="19" creationId="{B7032859-E3E0-6275-2A35-07FA5B951BD4}"/>
          </ac:spMkLst>
        </pc:spChg>
        <pc:spChg chg="add del mod">
          <ac:chgData name="Jan Henderyckx (AMS)" userId="09968f1a-c611-4440-b311-9e079e55d7ec" providerId="ADAL" clId="{661979D1-6A90-764A-8CEA-995BC9CAB869}" dt="2024-03-25T14:00:05.077" v="435" actId="478"/>
          <ac:spMkLst>
            <pc:docMk/>
            <pc:sldMk cId="3605975702" sldId="2147375404"/>
            <ac:spMk id="20" creationId="{E41F3687-2190-0E8E-8EDB-AE76276F0B2B}"/>
          </ac:spMkLst>
        </pc:spChg>
        <pc:spChg chg="add del mod">
          <ac:chgData name="Jan Henderyckx (AMS)" userId="09968f1a-c611-4440-b311-9e079e55d7ec" providerId="ADAL" clId="{661979D1-6A90-764A-8CEA-995BC9CAB869}" dt="2024-03-25T14:00:36.360" v="440" actId="478"/>
          <ac:spMkLst>
            <pc:docMk/>
            <pc:sldMk cId="3605975702" sldId="2147375404"/>
            <ac:spMk id="22" creationId="{A95F8573-9C79-F61B-91D6-7FF43264DC3D}"/>
          </ac:spMkLst>
        </pc:spChg>
        <pc:spChg chg="add del mod">
          <ac:chgData name="Jan Henderyckx (AMS)" userId="09968f1a-c611-4440-b311-9e079e55d7ec" providerId="ADAL" clId="{661979D1-6A90-764A-8CEA-995BC9CAB869}" dt="2024-03-25T14:00:48.505" v="444" actId="478"/>
          <ac:spMkLst>
            <pc:docMk/>
            <pc:sldMk cId="3605975702" sldId="2147375404"/>
            <ac:spMk id="24" creationId="{298F0148-2B5F-A85E-BA3A-337CBDD79C43}"/>
          </ac:spMkLst>
        </pc:spChg>
        <pc:spChg chg="add del mod">
          <ac:chgData name="Jan Henderyckx (AMS)" userId="09968f1a-c611-4440-b311-9e079e55d7ec" providerId="ADAL" clId="{661979D1-6A90-764A-8CEA-995BC9CAB869}" dt="2024-03-25T14:01:04.084" v="448" actId="478"/>
          <ac:spMkLst>
            <pc:docMk/>
            <pc:sldMk cId="3605975702" sldId="2147375404"/>
            <ac:spMk id="26" creationId="{94A7C3E1-CB3F-2D9E-5F52-B9AACECCC42D}"/>
          </ac:spMkLst>
        </pc:spChg>
        <pc:spChg chg="add mod">
          <ac:chgData name="Jan Henderyckx (AMS)" userId="09968f1a-c611-4440-b311-9e079e55d7ec" providerId="ADAL" clId="{661979D1-6A90-764A-8CEA-995BC9CAB869}" dt="2024-03-25T16:46:12.681" v="474" actId="1076"/>
          <ac:spMkLst>
            <pc:docMk/>
            <pc:sldMk cId="3605975702" sldId="2147375404"/>
            <ac:spMk id="27" creationId="{315F0D7E-76E1-1CFA-1260-CDD12ACEAE1D}"/>
          </ac:spMkLst>
        </pc:spChg>
        <pc:graphicFrameChg chg="add mod">
          <ac:chgData name="Jan Henderyckx (AMS)" userId="09968f1a-c611-4440-b311-9e079e55d7ec" providerId="ADAL" clId="{661979D1-6A90-764A-8CEA-995BC9CAB869}" dt="2024-03-25T16:51:23.849" v="569"/>
          <ac:graphicFrameMkLst>
            <pc:docMk/>
            <pc:sldMk cId="3605975702" sldId="2147375404"/>
            <ac:graphicFrameMk id="28" creationId="{F65A2C36-2A03-E653-9176-027513C6D663}"/>
          </ac:graphicFrameMkLst>
        </pc:graphicFrameChg>
        <pc:picChg chg="add mod">
          <ac:chgData name="Jan Henderyckx (AMS)" userId="09968f1a-c611-4440-b311-9e079e55d7ec" providerId="ADAL" clId="{661979D1-6A90-764A-8CEA-995BC9CAB869}" dt="2024-03-25T08:34:41.405" v="179" actId="167"/>
          <ac:picMkLst>
            <pc:docMk/>
            <pc:sldMk cId="3605975702" sldId="2147375404"/>
            <ac:picMk id="11" creationId="{A5A87313-80C5-F856-7B78-46C0B5FD06E2}"/>
          </ac:picMkLst>
        </pc:picChg>
        <pc:picChg chg="add mod">
          <ac:chgData name="Jan Henderyckx (AMS)" userId="09968f1a-c611-4440-b311-9e079e55d7ec" providerId="ADAL" clId="{661979D1-6A90-764A-8CEA-995BC9CAB869}" dt="2024-03-25T08:34:41.405" v="179" actId="167"/>
          <ac:picMkLst>
            <pc:docMk/>
            <pc:sldMk cId="3605975702" sldId="2147375404"/>
            <ac:picMk id="13" creationId="{E07FF721-E39E-4C34-8D0F-47B9DA8DA630}"/>
          </ac:picMkLst>
        </pc:picChg>
        <pc:picChg chg="add mod">
          <ac:chgData name="Jan Henderyckx (AMS)" userId="09968f1a-c611-4440-b311-9e079e55d7ec" providerId="ADAL" clId="{661979D1-6A90-764A-8CEA-995BC9CAB869}" dt="2024-03-25T08:34:41.405" v="179" actId="167"/>
          <ac:picMkLst>
            <pc:docMk/>
            <pc:sldMk cId="3605975702" sldId="2147375404"/>
            <ac:picMk id="15" creationId="{C6EEF951-33E1-94FF-753A-0E0A109F5ECC}"/>
          </ac:picMkLst>
        </pc:picChg>
        <pc:picChg chg="del mod">
          <ac:chgData name="Jan Henderyckx (AMS)" userId="09968f1a-c611-4440-b311-9e079e55d7ec" providerId="ADAL" clId="{661979D1-6A90-764A-8CEA-995BC9CAB869}" dt="2024-03-25T08:34:36.461" v="177" actId="478"/>
          <ac:picMkLst>
            <pc:docMk/>
            <pc:sldMk cId="3605975702" sldId="2147375404"/>
            <ac:picMk id="16" creationId="{515AF148-D91A-2AF2-3596-0459A047E7C5}"/>
          </ac:picMkLst>
        </pc:picChg>
        <pc:picChg chg="del mod">
          <ac:chgData name="Jan Henderyckx (AMS)" userId="09968f1a-c611-4440-b311-9e079e55d7ec" providerId="ADAL" clId="{661979D1-6A90-764A-8CEA-995BC9CAB869}" dt="2024-03-25T08:34:36.461" v="177" actId="478"/>
          <ac:picMkLst>
            <pc:docMk/>
            <pc:sldMk cId="3605975702" sldId="2147375404"/>
            <ac:picMk id="17" creationId="{62A57C1A-5122-3F37-CF8F-F6E3E0ECAD73}"/>
          </ac:picMkLst>
        </pc:picChg>
        <pc:extLst>
          <p:ext xmlns:p="http://schemas.openxmlformats.org/presentationml/2006/main" uri="{D6D511B9-2390-475A-947B-AFAB55BFBCF1}">
            <pc226:cmChg xmlns:pc226="http://schemas.microsoft.com/office/powerpoint/2022/06/main/command" chg="del">
              <pc226:chgData name="Jan Henderyckx (AMS)" userId="09968f1a-c611-4440-b311-9e079e55d7ec" providerId="ADAL" clId="{661979D1-6A90-764A-8CEA-995BC9CAB869}" dt="2024-03-25T08:19:33.808" v="47"/>
              <pc2:cmMkLst xmlns:pc2="http://schemas.microsoft.com/office/powerpoint/2019/9/main/command">
                <pc:docMk/>
                <pc:sldMk cId="3605975702" sldId="2147375404"/>
                <pc2:cmMk id="{43F12F78-2B6A-49F1-BB81-F792787D7BEF}"/>
              </pc2:cmMkLst>
            </pc226:cmChg>
            <pc226:cmChg xmlns:pc226="http://schemas.microsoft.com/office/powerpoint/2022/06/main/command" chg="del">
              <pc226:chgData name="Jan Henderyckx (AMS)" userId="09968f1a-c611-4440-b311-9e079e55d7ec" providerId="ADAL" clId="{661979D1-6A90-764A-8CEA-995BC9CAB869}" dt="2024-03-25T08:19:35.848" v="48"/>
              <pc2:cmMkLst xmlns:pc2="http://schemas.microsoft.com/office/powerpoint/2019/9/main/command">
                <pc:docMk/>
                <pc:sldMk cId="3605975702" sldId="2147375404"/>
                <pc2:cmMk id="{852CF8CA-179C-4748-BBE3-2F5AE349542C}"/>
              </pc2:cmMkLst>
            </pc226:cmChg>
          </p:ext>
        </pc:extLst>
      </pc:sldChg>
      <pc:sldChg chg="addSp delSp modSp add del mod modClrScheme chgLayout">
        <pc:chgData name="Jan Henderyckx (AMS)" userId="09968f1a-c611-4440-b311-9e079e55d7ec" providerId="ADAL" clId="{661979D1-6A90-764A-8CEA-995BC9CAB869}" dt="2024-03-25T16:46:33.023" v="486" actId="20577"/>
        <pc:sldMkLst>
          <pc:docMk/>
          <pc:sldMk cId="850050679" sldId="2147375405"/>
        </pc:sldMkLst>
        <pc:spChg chg="mod ord">
          <ac:chgData name="Jan Henderyckx (AMS)" userId="09968f1a-c611-4440-b311-9e079e55d7ec" providerId="ADAL" clId="{661979D1-6A90-764A-8CEA-995BC9CAB869}" dt="2024-03-25T16:46:33.023" v="486" actId="20577"/>
          <ac:spMkLst>
            <pc:docMk/>
            <pc:sldMk cId="850050679" sldId="2147375405"/>
            <ac:spMk id="2" creationId="{E838D62C-DE1F-91EA-2B59-82BB0275020E}"/>
          </ac:spMkLst>
        </pc:spChg>
        <pc:spChg chg="mod ord">
          <ac:chgData name="Jan Henderyckx (AMS)" userId="09968f1a-c611-4440-b311-9e079e55d7ec" providerId="ADAL" clId="{661979D1-6A90-764A-8CEA-995BC9CAB869}" dt="2024-03-25T08:36:50.442" v="206" actId="207"/>
          <ac:spMkLst>
            <pc:docMk/>
            <pc:sldMk cId="850050679" sldId="2147375405"/>
            <ac:spMk id="3" creationId="{36827FF0-C6F2-814F-07A2-D8DD589EEC51}"/>
          </ac:spMkLst>
        </pc:spChg>
        <pc:spChg chg="add del mod">
          <ac:chgData name="Jan Henderyckx (AMS)" userId="09968f1a-c611-4440-b311-9e079e55d7ec" providerId="ADAL" clId="{661979D1-6A90-764A-8CEA-995BC9CAB869}" dt="2024-03-25T08:20:12.844" v="66" actId="6264"/>
          <ac:spMkLst>
            <pc:docMk/>
            <pc:sldMk cId="850050679" sldId="2147375405"/>
            <ac:spMk id="4" creationId="{7D5C241E-3C06-AFFD-FF79-DBB9E0A86F2C}"/>
          </ac:spMkLst>
        </pc:spChg>
        <pc:spChg chg="mod ord">
          <ac:chgData name="Jan Henderyckx (AMS)" userId="09968f1a-c611-4440-b311-9e079e55d7ec" providerId="ADAL" clId="{661979D1-6A90-764A-8CEA-995BC9CAB869}" dt="2024-03-25T08:20:12.844" v="66" actId="6264"/>
          <ac:spMkLst>
            <pc:docMk/>
            <pc:sldMk cId="850050679" sldId="2147375405"/>
            <ac:spMk id="6" creationId="{DEFE27AA-2234-2A3D-86E9-415D2562FC69}"/>
          </ac:spMkLst>
        </pc:spChg>
        <pc:spChg chg="del mod ord">
          <ac:chgData name="Jan Henderyckx (AMS)" userId="09968f1a-c611-4440-b311-9e079e55d7ec" providerId="ADAL" clId="{661979D1-6A90-764A-8CEA-995BC9CAB869}" dt="2024-03-25T08:36:55.535" v="207" actId="478"/>
          <ac:spMkLst>
            <pc:docMk/>
            <pc:sldMk cId="850050679" sldId="2147375405"/>
            <ac:spMk id="7" creationId="{AB96C2FC-B10E-C631-44D7-8DF5B9C79486}"/>
          </ac:spMkLst>
        </pc:spChg>
        <pc:spChg chg="mod ord">
          <ac:chgData name="Jan Henderyckx (AMS)" userId="09968f1a-c611-4440-b311-9e079e55d7ec" providerId="ADAL" clId="{661979D1-6A90-764A-8CEA-995BC9CAB869}" dt="2024-03-25T08:20:12.844" v="66" actId="6264"/>
          <ac:spMkLst>
            <pc:docMk/>
            <pc:sldMk cId="850050679" sldId="2147375405"/>
            <ac:spMk id="8" creationId="{183D78E3-B449-4D7B-BD09-5B0C79498DA3}"/>
          </ac:spMkLst>
        </pc:spChg>
        <pc:spChg chg="add mod">
          <ac:chgData name="Jan Henderyckx (AMS)" userId="09968f1a-c611-4440-b311-9e079e55d7ec" providerId="ADAL" clId="{661979D1-6A90-764A-8CEA-995BC9CAB869}" dt="2024-03-25T08:35:39.034" v="189" actId="167"/>
          <ac:spMkLst>
            <pc:docMk/>
            <pc:sldMk cId="850050679" sldId="2147375405"/>
            <ac:spMk id="9" creationId="{5276B406-2F74-4D03-AA5E-5B3F7579B899}"/>
          </ac:spMkLst>
        </pc:spChg>
        <pc:spChg chg="mod">
          <ac:chgData name="Jan Henderyckx (AMS)" userId="09968f1a-c611-4440-b311-9e079e55d7ec" providerId="ADAL" clId="{661979D1-6A90-764A-8CEA-995BC9CAB869}" dt="2024-03-25T08:35:39.034" v="189" actId="167"/>
          <ac:spMkLst>
            <pc:docMk/>
            <pc:sldMk cId="850050679" sldId="2147375405"/>
            <ac:spMk id="10" creationId="{D30652B9-239A-7080-63EF-1AE9DD87395D}"/>
          </ac:spMkLst>
        </pc:spChg>
        <pc:spChg chg="add mod">
          <ac:chgData name="Jan Henderyckx (AMS)" userId="09968f1a-c611-4440-b311-9e079e55d7ec" providerId="ADAL" clId="{661979D1-6A90-764A-8CEA-995BC9CAB869}" dt="2024-03-25T16:46:16.025" v="475"/>
          <ac:spMkLst>
            <pc:docMk/>
            <pc:sldMk cId="850050679" sldId="2147375405"/>
            <ac:spMk id="12" creationId="{C449AD5B-070C-E518-CDCF-2B07F737776F}"/>
          </ac:spMkLst>
        </pc:spChg>
        <pc:spChg chg="del mod ord">
          <ac:chgData name="Jan Henderyckx (AMS)" userId="09968f1a-c611-4440-b311-9e079e55d7ec" providerId="ADAL" clId="{661979D1-6A90-764A-8CEA-995BC9CAB869}" dt="2024-03-25T08:20:12.844" v="66" actId="6264"/>
          <ac:spMkLst>
            <pc:docMk/>
            <pc:sldMk cId="850050679" sldId="2147375405"/>
            <ac:spMk id="19" creationId="{B7032859-E3E0-6275-2A35-07FA5B951BD4}"/>
          </ac:spMkLst>
        </pc:spChg>
        <pc:picChg chg="add mod">
          <ac:chgData name="Jan Henderyckx (AMS)" userId="09968f1a-c611-4440-b311-9e079e55d7ec" providerId="ADAL" clId="{661979D1-6A90-764A-8CEA-995BC9CAB869}" dt="2024-03-25T08:35:39.034" v="189" actId="167"/>
          <ac:picMkLst>
            <pc:docMk/>
            <pc:sldMk cId="850050679" sldId="2147375405"/>
            <ac:picMk id="5" creationId="{CC72F7E6-CC5D-AC82-B45D-45499EF11164}"/>
          </ac:picMkLst>
        </pc:picChg>
        <pc:picChg chg="add mod">
          <ac:chgData name="Jan Henderyckx (AMS)" userId="09968f1a-c611-4440-b311-9e079e55d7ec" providerId="ADAL" clId="{661979D1-6A90-764A-8CEA-995BC9CAB869}" dt="2024-03-25T08:35:39.034" v="189" actId="167"/>
          <ac:picMkLst>
            <pc:docMk/>
            <pc:sldMk cId="850050679" sldId="2147375405"/>
            <ac:picMk id="11" creationId="{D4D1CD58-86CD-6BE5-2DF1-5E9F348BBC2E}"/>
          </ac:picMkLst>
        </pc:picChg>
        <pc:picChg chg="mod">
          <ac:chgData name="Jan Henderyckx (AMS)" userId="09968f1a-c611-4440-b311-9e079e55d7ec" providerId="ADAL" clId="{661979D1-6A90-764A-8CEA-995BC9CAB869}" dt="2024-03-25T08:35:39.034" v="189" actId="167"/>
          <ac:picMkLst>
            <pc:docMk/>
            <pc:sldMk cId="850050679" sldId="2147375405"/>
            <ac:picMk id="16" creationId="{515AF148-D91A-2AF2-3596-0459A047E7C5}"/>
          </ac:picMkLst>
        </pc:picChg>
        <pc:picChg chg="del">
          <ac:chgData name="Jan Henderyckx (AMS)" userId="09968f1a-c611-4440-b311-9e079e55d7ec" providerId="ADAL" clId="{661979D1-6A90-764A-8CEA-995BC9CAB869}" dt="2024-03-25T08:34:25.854" v="176" actId="478"/>
          <ac:picMkLst>
            <pc:docMk/>
            <pc:sldMk cId="850050679" sldId="2147375405"/>
            <ac:picMk id="17" creationId="{62A57C1A-5122-3F37-CF8F-F6E3E0ECAD73}"/>
          </ac:picMkLst>
        </pc:picChg>
      </pc:sldChg>
      <pc:sldChg chg="addSp delSp modSp add del mod modClrScheme chgLayout">
        <pc:chgData name="Jan Henderyckx (AMS)" userId="09968f1a-c611-4440-b311-9e079e55d7ec" providerId="ADAL" clId="{661979D1-6A90-764A-8CEA-995BC9CAB869}" dt="2024-03-25T16:46:27.547" v="479" actId="20577"/>
        <pc:sldMkLst>
          <pc:docMk/>
          <pc:sldMk cId="3574331798" sldId="2147375406"/>
        </pc:sldMkLst>
        <pc:spChg chg="mod ord">
          <ac:chgData name="Jan Henderyckx (AMS)" userId="09968f1a-c611-4440-b311-9e079e55d7ec" providerId="ADAL" clId="{661979D1-6A90-764A-8CEA-995BC9CAB869}" dt="2024-03-25T16:46:27.547" v="479" actId="20577"/>
          <ac:spMkLst>
            <pc:docMk/>
            <pc:sldMk cId="3574331798" sldId="2147375406"/>
            <ac:spMk id="2" creationId="{E838D62C-DE1F-91EA-2B59-82BB0275020E}"/>
          </ac:spMkLst>
        </pc:spChg>
        <pc:spChg chg="mod ord">
          <ac:chgData name="Jan Henderyckx (AMS)" userId="09968f1a-c611-4440-b311-9e079e55d7ec" providerId="ADAL" clId="{661979D1-6A90-764A-8CEA-995BC9CAB869}" dt="2024-03-25T09:30:53.154" v="400" actId="27636"/>
          <ac:spMkLst>
            <pc:docMk/>
            <pc:sldMk cId="3574331798" sldId="2147375406"/>
            <ac:spMk id="3" creationId="{36827FF0-C6F2-814F-07A2-D8DD589EEC51}"/>
          </ac:spMkLst>
        </pc:spChg>
        <pc:spChg chg="add mod">
          <ac:chgData name="Jan Henderyckx (AMS)" userId="09968f1a-c611-4440-b311-9e079e55d7ec" providerId="ADAL" clId="{661979D1-6A90-764A-8CEA-995BC9CAB869}" dt="2024-03-25T08:34:53.720" v="182" actId="167"/>
          <ac:spMkLst>
            <pc:docMk/>
            <pc:sldMk cId="3574331798" sldId="2147375406"/>
            <ac:spMk id="5" creationId="{F0538E16-E865-79E2-2EFC-D45E598E65BC}"/>
          </ac:spMkLst>
        </pc:spChg>
        <pc:spChg chg="del mod ord">
          <ac:chgData name="Jan Henderyckx (AMS)" userId="09968f1a-c611-4440-b311-9e079e55d7ec" providerId="ADAL" clId="{661979D1-6A90-764A-8CEA-995BC9CAB869}" dt="2024-03-25T08:46:40.806" v="308" actId="478"/>
          <ac:spMkLst>
            <pc:docMk/>
            <pc:sldMk cId="3574331798" sldId="2147375406"/>
            <ac:spMk id="6" creationId="{DEFE27AA-2234-2A3D-86E9-415D2562FC69}"/>
          </ac:spMkLst>
        </pc:spChg>
        <pc:spChg chg="del mod ord">
          <ac:chgData name="Jan Henderyckx (AMS)" userId="09968f1a-c611-4440-b311-9e079e55d7ec" providerId="ADAL" clId="{661979D1-6A90-764A-8CEA-995BC9CAB869}" dt="2024-03-25T08:46:48.722" v="310" actId="478"/>
          <ac:spMkLst>
            <pc:docMk/>
            <pc:sldMk cId="3574331798" sldId="2147375406"/>
            <ac:spMk id="7" creationId="{AB96C2FC-B10E-C631-44D7-8DF5B9C79486}"/>
          </ac:spMkLst>
        </pc:spChg>
        <pc:spChg chg="del mod ord">
          <ac:chgData name="Jan Henderyckx (AMS)" userId="09968f1a-c611-4440-b311-9e079e55d7ec" providerId="ADAL" clId="{661979D1-6A90-764A-8CEA-995BC9CAB869}" dt="2024-03-25T08:46:40.806" v="308" actId="478"/>
          <ac:spMkLst>
            <pc:docMk/>
            <pc:sldMk cId="3574331798" sldId="2147375406"/>
            <ac:spMk id="8" creationId="{183D78E3-B449-4D7B-BD09-5B0C79498DA3}"/>
          </ac:spMkLst>
        </pc:spChg>
        <pc:spChg chg="del mod">
          <ac:chgData name="Jan Henderyckx (AMS)" userId="09968f1a-c611-4440-b311-9e079e55d7ec" providerId="ADAL" clId="{661979D1-6A90-764A-8CEA-995BC9CAB869}" dt="2024-03-25T08:34:47.646" v="180" actId="478"/>
          <ac:spMkLst>
            <pc:docMk/>
            <pc:sldMk cId="3574331798" sldId="2147375406"/>
            <ac:spMk id="10" creationId="{D30652B9-239A-7080-63EF-1AE9DD87395D}"/>
          </ac:spMkLst>
        </pc:spChg>
        <pc:spChg chg="add mod">
          <ac:chgData name="Jan Henderyckx (AMS)" userId="09968f1a-c611-4440-b311-9e079e55d7ec" providerId="ADAL" clId="{661979D1-6A90-764A-8CEA-995BC9CAB869}" dt="2024-03-25T08:34:53.720" v="182" actId="167"/>
          <ac:spMkLst>
            <pc:docMk/>
            <pc:sldMk cId="3574331798" sldId="2147375406"/>
            <ac:spMk id="11" creationId="{46A74413-0451-4C5C-8064-4AFC18139F7B}"/>
          </ac:spMkLst>
        </pc:spChg>
        <pc:spChg chg="add del mod">
          <ac:chgData name="Jan Henderyckx (AMS)" userId="09968f1a-c611-4440-b311-9e079e55d7ec" providerId="ADAL" clId="{661979D1-6A90-764A-8CEA-995BC9CAB869}" dt="2024-03-25T08:46:43.581" v="309" actId="6264"/>
          <ac:spMkLst>
            <pc:docMk/>
            <pc:sldMk cId="3574331798" sldId="2147375406"/>
            <ac:spMk id="13" creationId="{5A64380F-69DD-493F-D1C7-FB646797194B}"/>
          </ac:spMkLst>
        </pc:spChg>
        <pc:spChg chg="add del mod">
          <ac:chgData name="Jan Henderyckx (AMS)" userId="09968f1a-c611-4440-b311-9e079e55d7ec" providerId="ADAL" clId="{661979D1-6A90-764A-8CEA-995BC9CAB869}" dt="2024-03-25T08:46:43.581" v="309" actId="6264"/>
          <ac:spMkLst>
            <pc:docMk/>
            <pc:sldMk cId="3574331798" sldId="2147375406"/>
            <ac:spMk id="14" creationId="{304B4F04-8D6F-C5FF-CD92-9304B60B2A33}"/>
          </ac:spMkLst>
        </pc:spChg>
        <pc:spChg chg="add mod">
          <ac:chgData name="Jan Henderyckx (AMS)" userId="09968f1a-c611-4440-b311-9e079e55d7ec" providerId="ADAL" clId="{661979D1-6A90-764A-8CEA-995BC9CAB869}" dt="2024-03-25T16:46:18.551" v="476"/>
          <ac:spMkLst>
            <pc:docMk/>
            <pc:sldMk cId="3574331798" sldId="2147375406"/>
            <ac:spMk id="15" creationId="{8BD13E02-95F0-861F-3F23-CA226F737CC8}"/>
          </ac:spMkLst>
        </pc:spChg>
        <pc:spChg chg="del mod ord">
          <ac:chgData name="Jan Henderyckx (AMS)" userId="09968f1a-c611-4440-b311-9e079e55d7ec" providerId="ADAL" clId="{661979D1-6A90-764A-8CEA-995BC9CAB869}" dt="2024-03-25T08:46:51.417" v="311" actId="478"/>
          <ac:spMkLst>
            <pc:docMk/>
            <pc:sldMk cId="3574331798" sldId="2147375406"/>
            <ac:spMk id="19" creationId="{B7032859-E3E0-6275-2A35-07FA5B951BD4}"/>
          </ac:spMkLst>
        </pc:spChg>
        <pc:picChg chg="add mod">
          <ac:chgData name="Jan Henderyckx (AMS)" userId="09968f1a-c611-4440-b311-9e079e55d7ec" providerId="ADAL" clId="{661979D1-6A90-764A-8CEA-995BC9CAB869}" dt="2024-03-25T08:34:53.720" v="182" actId="167"/>
          <ac:picMkLst>
            <pc:docMk/>
            <pc:sldMk cId="3574331798" sldId="2147375406"/>
            <ac:picMk id="4" creationId="{5ADA41D7-B9ED-CF3F-E7CA-F1A10CE904BF}"/>
          </ac:picMkLst>
        </pc:picChg>
        <pc:picChg chg="add mod">
          <ac:chgData name="Jan Henderyckx (AMS)" userId="09968f1a-c611-4440-b311-9e079e55d7ec" providerId="ADAL" clId="{661979D1-6A90-764A-8CEA-995BC9CAB869}" dt="2024-03-25T08:34:53.720" v="182" actId="167"/>
          <ac:picMkLst>
            <pc:docMk/>
            <pc:sldMk cId="3574331798" sldId="2147375406"/>
            <ac:picMk id="9" creationId="{41C0ABE7-FF74-8DD3-088B-E0AF1E4D6D9B}"/>
          </ac:picMkLst>
        </pc:picChg>
        <pc:picChg chg="add mod">
          <ac:chgData name="Jan Henderyckx (AMS)" userId="09968f1a-c611-4440-b311-9e079e55d7ec" providerId="ADAL" clId="{661979D1-6A90-764A-8CEA-995BC9CAB869}" dt="2024-03-25T08:34:53.720" v="182" actId="167"/>
          <ac:picMkLst>
            <pc:docMk/>
            <pc:sldMk cId="3574331798" sldId="2147375406"/>
            <ac:picMk id="12" creationId="{E2BD6656-A680-4E18-88EA-1BE7D14BC106}"/>
          </ac:picMkLst>
        </pc:picChg>
        <pc:picChg chg="del">
          <ac:chgData name="Jan Henderyckx (AMS)" userId="09968f1a-c611-4440-b311-9e079e55d7ec" providerId="ADAL" clId="{661979D1-6A90-764A-8CEA-995BC9CAB869}" dt="2024-03-25T08:34:47.646" v="180" actId="478"/>
          <ac:picMkLst>
            <pc:docMk/>
            <pc:sldMk cId="3574331798" sldId="2147375406"/>
            <ac:picMk id="16" creationId="{515AF148-D91A-2AF2-3596-0459A047E7C5}"/>
          </ac:picMkLst>
        </pc:picChg>
        <pc:picChg chg="del">
          <ac:chgData name="Jan Henderyckx (AMS)" userId="09968f1a-c611-4440-b311-9e079e55d7ec" providerId="ADAL" clId="{661979D1-6A90-764A-8CEA-995BC9CAB869}" dt="2024-03-25T08:34:47.646" v="180" actId="478"/>
          <ac:picMkLst>
            <pc:docMk/>
            <pc:sldMk cId="3574331798" sldId="2147375406"/>
            <ac:picMk id="17" creationId="{62A57C1A-5122-3F37-CF8F-F6E3E0ECAD73}"/>
          </ac:picMkLst>
        </pc:picChg>
      </pc:sldChg>
      <pc:sldChg chg="addSp delSp modSp add del mod modClrScheme chgLayout">
        <pc:chgData name="Jan Henderyckx (AMS)" userId="09968f1a-c611-4440-b311-9e079e55d7ec" providerId="ADAL" clId="{661979D1-6A90-764A-8CEA-995BC9CAB869}" dt="2024-03-25T16:46:24.293" v="478" actId="20577"/>
        <pc:sldMkLst>
          <pc:docMk/>
          <pc:sldMk cId="739617959" sldId="2147375407"/>
        </pc:sldMkLst>
        <pc:spChg chg="mod ord">
          <ac:chgData name="Jan Henderyckx (AMS)" userId="09968f1a-c611-4440-b311-9e079e55d7ec" providerId="ADAL" clId="{661979D1-6A90-764A-8CEA-995BC9CAB869}" dt="2024-03-25T16:46:24.293" v="478" actId="20577"/>
          <ac:spMkLst>
            <pc:docMk/>
            <pc:sldMk cId="739617959" sldId="2147375407"/>
            <ac:spMk id="2" creationId="{E838D62C-DE1F-91EA-2B59-82BB0275020E}"/>
          </ac:spMkLst>
        </pc:spChg>
        <pc:spChg chg="mod ord">
          <ac:chgData name="Jan Henderyckx (AMS)" userId="09968f1a-c611-4440-b311-9e079e55d7ec" providerId="ADAL" clId="{661979D1-6A90-764A-8CEA-995BC9CAB869}" dt="2024-03-25T08:49:34.804" v="380" actId="5793"/>
          <ac:spMkLst>
            <pc:docMk/>
            <pc:sldMk cId="739617959" sldId="2147375407"/>
            <ac:spMk id="3" creationId="{36827FF0-C6F2-814F-07A2-D8DD589EEC51}"/>
          </ac:spMkLst>
        </pc:spChg>
        <pc:spChg chg="add mod">
          <ac:chgData name="Jan Henderyckx (AMS)" userId="09968f1a-c611-4440-b311-9e079e55d7ec" providerId="ADAL" clId="{661979D1-6A90-764A-8CEA-995BC9CAB869}" dt="2024-03-25T08:35:02.960" v="185" actId="167"/>
          <ac:spMkLst>
            <pc:docMk/>
            <pc:sldMk cId="739617959" sldId="2147375407"/>
            <ac:spMk id="5" creationId="{ED8B48B9-7B65-547F-D078-9D448A23B2BE}"/>
          </ac:spMkLst>
        </pc:spChg>
        <pc:spChg chg="mod ord">
          <ac:chgData name="Jan Henderyckx (AMS)" userId="09968f1a-c611-4440-b311-9e079e55d7ec" providerId="ADAL" clId="{661979D1-6A90-764A-8CEA-995BC9CAB869}" dt="2024-03-25T08:42:34.810" v="246" actId="700"/>
          <ac:spMkLst>
            <pc:docMk/>
            <pc:sldMk cId="739617959" sldId="2147375407"/>
            <ac:spMk id="6" creationId="{DEFE27AA-2234-2A3D-86E9-415D2562FC69}"/>
          </ac:spMkLst>
        </pc:spChg>
        <pc:spChg chg="del mod ord">
          <ac:chgData name="Jan Henderyckx (AMS)" userId="09968f1a-c611-4440-b311-9e079e55d7ec" providerId="ADAL" clId="{661979D1-6A90-764A-8CEA-995BC9CAB869}" dt="2024-03-25T08:42:32.188" v="245" actId="478"/>
          <ac:spMkLst>
            <pc:docMk/>
            <pc:sldMk cId="739617959" sldId="2147375407"/>
            <ac:spMk id="7" creationId="{AB96C2FC-B10E-C631-44D7-8DF5B9C79486}"/>
          </ac:spMkLst>
        </pc:spChg>
        <pc:spChg chg="mod ord">
          <ac:chgData name="Jan Henderyckx (AMS)" userId="09968f1a-c611-4440-b311-9e079e55d7ec" providerId="ADAL" clId="{661979D1-6A90-764A-8CEA-995BC9CAB869}" dt="2024-03-25T08:42:34.810" v="246" actId="700"/>
          <ac:spMkLst>
            <pc:docMk/>
            <pc:sldMk cId="739617959" sldId="2147375407"/>
            <ac:spMk id="8" creationId="{183D78E3-B449-4D7B-BD09-5B0C79498DA3}"/>
          </ac:spMkLst>
        </pc:spChg>
        <pc:spChg chg="del">
          <ac:chgData name="Jan Henderyckx (AMS)" userId="09968f1a-c611-4440-b311-9e079e55d7ec" providerId="ADAL" clId="{661979D1-6A90-764A-8CEA-995BC9CAB869}" dt="2024-03-25T08:34:58.204" v="183" actId="478"/>
          <ac:spMkLst>
            <pc:docMk/>
            <pc:sldMk cId="739617959" sldId="2147375407"/>
            <ac:spMk id="10" creationId="{D30652B9-239A-7080-63EF-1AE9DD87395D}"/>
          </ac:spMkLst>
        </pc:spChg>
        <pc:spChg chg="add mod">
          <ac:chgData name="Jan Henderyckx (AMS)" userId="09968f1a-c611-4440-b311-9e079e55d7ec" providerId="ADAL" clId="{661979D1-6A90-764A-8CEA-995BC9CAB869}" dt="2024-03-25T08:35:02.960" v="185" actId="167"/>
          <ac:spMkLst>
            <pc:docMk/>
            <pc:sldMk cId="739617959" sldId="2147375407"/>
            <ac:spMk id="11" creationId="{1EB1E8FB-0AE4-9C4F-E0D3-485E493D7C5C}"/>
          </ac:spMkLst>
        </pc:spChg>
        <pc:spChg chg="add del mod">
          <ac:chgData name="Jan Henderyckx (AMS)" userId="09968f1a-c611-4440-b311-9e079e55d7ec" providerId="ADAL" clId="{661979D1-6A90-764A-8CEA-995BC9CAB869}" dt="2024-03-25T08:39:27.674" v="222" actId="6264"/>
          <ac:spMkLst>
            <pc:docMk/>
            <pc:sldMk cId="739617959" sldId="2147375407"/>
            <ac:spMk id="13" creationId="{F6BB3829-CDD7-CECE-46F5-FCB6E0B1A64A}"/>
          </ac:spMkLst>
        </pc:spChg>
        <pc:spChg chg="add del mod">
          <ac:chgData name="Jan Henderyckx (AMS)" userId="09968f1a-c611-4440-b311-9e079e55d7ec" providerId="ADAL" clId="{661979D1-6A90-764A-8CEA-995BC9CAB869}" dt="2024-03-25T08:39:27.674" v="222" actId="6264"/>
          <ac:spMkLst>
            <pc:docMk/>
            <pc:sldMk cId="739617959" sldId="2147375407"/>
            <ac:spMk id="14" creationId="{7DEE6837-D713-4F97-73C0-0197ED66150C}"/>
          </ac:spMkLst>
        </pc:spChg>
        <pc:spChg chg="add del mod">
          <ac:chgData name="Jan Henderyckx (AMS)" userId="09968f1a-c611-4440-b311-9e079e55d7ec" providerId="ADAL" clId="{661979D1-6A90-764A-8CEA-995BC9CAB869}" dt="2024-03-25T08:39:28.551" v="224" actId="6264"/>
          <ac:spMkLst>
            <pc:docMk/>
            <pc:sldMk cId="739617959" sldId="2147375407"/>
            <ac:spMk id="15" creationId="{1783EE28-8E1B-7E09-3D3B-F16D2B336919}"/>
          </ac:spMkLst>
        </pc:spChg>
        <pc:spChg chg="add del mod">
          <ac:chgData name="Jan Henderyckx (AMS)" userId="09968f1a-c611-4440-b311-9e079e55d7ec" providerId="ADAL" clId="{661979D1-6A90-764A-8CEA-995BC9CAB869}" dt="2024-03-25T08:39:28.551" v="224" actId="6264"/>
          <ac:spMkLst>
            <pc:docMk/>
            <pc:sldMk cId="739617959" sldId="2147375407"/>
            <ac:spMk id="18" creationId="{9B957A39-BFB4-15DF-A08E-7004209FE4D3}"/>
          </ac:spMkLst>
        </pc:spChg>
        <pc:spChg chg="del mod ord">
          <ac:chgData name="Jan Henderyckx (AMS)" userId="09968f1a-c611-4440-b311-9e079e55d7ec" providerId="ADAL" clId="{661979D1-6A90-764A-8CEA-995BC9CAB869}" dt="2024-03-25T08:42:51.690" v="252" actId="478"/>
          <ac:spMkLst>
            <pc:docMk/>
            <pc:sldMk cId="739617959" sldId="2147375407"/>
            <ac:spMk id="19" creationId="{B7032859-E3E0-6275-2A35-07FA5B951BD4}"/>
          </ac:spMkLst>
        </pc:spChg>
        <pc:spChg chg="add mod">
          <ac:chgData name="Jan Henderyckx (AMS)" userId="09968f1a-c611-4440-b311-9e079e55d7ec" providerId="ADAL" clId="{661979D1-6A90-764A-8CEA-995BC9CAB869}" dt="2024-03-25T16:46:20.866" v="477"/>
          <ac:spMkLst>
            <pc:docMk/>
            <pc:sldMk cId="739617959" sldId="2147375407"/>
            <ac:spMk id="20" creationId="{842E9EB3-C05F-C1AF-C507-98A2E6C7DF67}"/>
          </ac:spMkLst>
        </pc:spChg>
        <pc:spChg chg="del mod">
          <ac:chgData name="Jan Henderyckx (AMS)" userId="09968f1a-c611-4440-b311-9e079e55d7ec" providerId="ADAL" clId="{661979D1-6A90-764A-8CEA-995BC9CAB869}" dt="2024-03-25T08:43:25.999" v="272" actId="478"/>
          <ac:spMkLst>
            <pc:docMk/>
            <pc:sldMk cId="739617959" sldId="2147375407"/>
            <ac:spMk id="23" creationId="{722AB5D5-1257-6451-AAF2-9EB0203976C5}"/>
          </ac:spMkLst>
        </pc:spChg>
        <pc:picChg chg="add mod">
          <ac:chgData name="Jan Henderyckx (AMS)" userId="09968f1a-c611-4440-b311-9e079e55d7ec" providerId="ADAL" clId="{661979D1-6A90-764A-8CEA-995BC9CAB869}" dt="2024-03-25T08:35:02.960" v="185" actId="167"/>
          <ac:picMkLst>
            <pc:docMk/>
            <pc:sldMk cId="739617959" sldId="2147375407"/>
            <ac:picMk id="4" creationId="{143DDBE2-1253-0271-EAC9-C65574D6D7EA}"/>
          </ac:picMkLst>
        </pc:picChg>
        <pc:picChg chg="add mod">
          <ac:chgData name="Jan Henderyckx (AMS)" userId="09968f1a-c611-4440-b311-9e079e55d7ec" providerId="ADAL" clId="{661979D1-6A90-764A-8CEA-995BC9CAB869}" dt="2024-03-25T08:35:02.960" v="185" actId="167"/>
          <ac:picMkLst>
            <pc:docMk/>
            <pc:sldMk cId="739617959" sldId="2147375407"/>
            <ac:picMk id="9" creationId="{093BE85E-8ED1-9C76-8AE8-53DF1AA66098}"/>
          </ac:picMkLst>
        </pc:picChg>
        <pc:picChg chg="add mod">
          <ac:chgData name="Jan Henderyckx (AMS)" userId="09968f1a-c611-4440-b311-9e079e55d7ec" providerId="ADAL" clId="{661979D1-6A90-764A-8CEA-995BC9CAB869}" dt="2024-03-25T08:35:02.960" v="185" actId="167"/>
          <ac:picMkLst>
            <pc:docMk/>
            <pc:sldMk cId="739617959" sldId="2147375407"/>
            <ac:picMk id="12" creationId="{28F8477F-F5F4-23F3-5570-2D5C20853D53}"/>
          </ac:picMkLst>
        </pc:picChg>
        <pc:picChg chg="del">
          <ac:chgData name="Jan Henderyckx (AMS)" userId="09968f1a-c611-4440-b311-9e079e55d7ec" providerId="ADAL" clId="{661979D1-6A90-764A-8CEA-995BC9CAB869}" dt="2024-03-25T08:34:58.204" v="183" actId="478"/>
          <ac:picMkLst>
            <pc:docMk/>
            <pc:sldMk cId="739617959" sldId="2147375407"/>
            <ac:picMk id="16" creationId="{515AF148-D91A-2AF2-3596-0459A047E7C5}"/>
          </ac:picMkLst>
        </pc:picChg>
        <pc:picChg chg="del">
          <ac:chgData name="Jan Henderyckx (AMS)" userId="09968f1a-c611-4440-b311-9e079e55d7ec" providerId="ADAL" clId="{661979D1-6A90-764A-8CEA-995BC9CAB869}" dt="2024-03-25T08:34:58.204" v="183" actId="478"/>
          <ac:picMkLst>
            <pc:docMk/>
            <pc:sldMk cId="739617959" sldId="2147375407"/>
            <ac:picMk id="17" creationId="{62A57C1A-5122-3F37-CF8F-F6E3E0ECAD73}"/>
          </ac:picMkLst>
        </pc:picChg>
      </pc:sldChg>
      <pc:sldChg chg="delSp modSp add del mod modClrScheme chgLayout">
        <pc:chgData name="Jan Henderyckx (AMS)" userId="09968f1a-c611-4440-b311-9e079e55d7ec" providerId="ADAL" clId="{661979D1-6A90-764A-8CEA-995BC9CAB869}" dt="2024-03-25T09:27:46.296" v="392" actId="2696"/>
        <pc:sldMkLst>
          <pc:docMk/>
          <pc:sldMk cId="1823881416" sldId="2147375408"/>
        </pc:sldMkLst>
        <pc:spChg chg="mod ord">
          <ac:chgData name="Jan Henderyckx (AMS)" userId="09968f1a-c611-4440-b311-9e079e55d7ec" providerId="ADAL" clId="{661979D1-6A90-764A-8CEA-995BC9CAB869}" dt="2024-03-25T08:09:02.644" v="14" actId="700"/>
          <ac:spMkLst>
            <pc:docMk/>
            <pc:sldMk cId="1823881416" sldId="2147375408"/>
            <ac:spMk id="2" creationId="{E838D62C-DE1F-91EA-2B59-82BB0275020E}"/>
          </ac:spMkLst>
        </pc:spChg>
        <pc:spChg chg="mod ord">
          <ac:chgData name="Jan Henderyckx (AMS)" userId="09968f1a-c611-4440-b311-9e079e55d7ec" providerId="ADAL" clId="{661979D1-6A90-764A-8CEA-995BC9CAB869}" dt="2024-03-25T08:09:02.751" v="16" actId="27636"/>
          <ac:spMkLst>
            <pc:docMk/>
            <pc:sldMk cId="1823881416" sldId="2147375408"/>
            <ac:spMk id="3" creationId="{36827FF0-C6F2-814F-07A2-D8DD589EEC51}"/>
          </ac:spMkLst>
        </pc:spChg>
        <pc:spChg chg="mod ord">
          <ac:chgData name="Jan Henderyckx (AMS)" userId="09968f1a-c611-4440-b311-9e079e55d7ec" providerId="ADAL" clId="{661979D1-6A90-764A-8CEA-995BC9CAB869}" dt="2024-03-25T08:09:02.644" v="14" actId="700"/>
          <ac:spMkLst>
            <pc:docMk/>
            <pc:sldMk cId="1823881416" sldId="2147375408"/>
            <ac:spMk id="4" creationId="{237F0C82-9EFF-39A8-CAD8-B8DADDBCBB77}"/>
          </ac:spMkLst>
        </pc:spChg>
        <pc:spChg chg="mod ord">
          <ac:chgData name="Jan Henderyckx (AMS)" userId="09968f1a-c611-4440-b311-9e079e55d7ec" providerId="ADAL" clId="{661979D1-6A90-764A-8CEA-995BC9CAB869}" dt="2024-03-25T08:09:02.644" v="14" actId="700"/>
          <ac:spMkLst>
            <pc:docMk/>
            <pc:sldMk cId="1823881416" sldId="2147375408"/>
            <ac:spMk id="5" creationId="{0EC397A1-6BC4-ED46-0A11-75843EF37C41}"/>
          </ac:spMkLst>
        </pc:spChg>
        <pc:spChg chg="del mod ord">
          <ac:chgData name="Jan Henderyckx (AMS)" userId="09968f1a-c611-4440-b311-9e079e55d7ec" providerId="ADAL" clId="{661979D1-6A90-764A-8CEA-995BC9CAB869}" dt="2024-03-25T08:49:04.528" v="377" actId="478"/>
          <ac:spMkLst>
            <pc:docMk/>
            <pc:sldMk cId="1823881416" sldId="2147375408"/>
            <ac:spMk id="7" creationId="{57E181F4-514D-126E-ADA7-8076E121DBFC}"/>
          </ac:spMkLst>
        </pc:spChg>
        <pc:spChg chg="mod ord">
          <ac:chgData name="Jan Henderyckx (AMS)" userId="09968f1a-c611-4440-b311-9e079e55d7ec" providerId="ADAL" clId="{661979D1-6A90-764A-8CEA-995BC9CAB869}" dt="2024-03-25T08:09:02.644" v="14" actId="700"/>
          <ac:spMkLst>
            <pc:docMk/>
            <pc:sldMk cId="1823881416" sldId="2147375408"/>
            <ac:spMk id="8" creationId="{5151CDB9-BB89-3E6A-001D-909A5747BE17}"/>
          </ac:spMkLst>
        </pc:spChg>
      </pc:sldChg>
      <pc:sldChg chg="addSp delSp modSp new mod setBg modClrScheme chgLayout">
        <pc:chgData name="Jan Henderyckx (AMS)" userId="09968f1a-c611-4440-b311-9e079e55d7ec" providerId="ADAL" clId="{661979D1-6A90-764A-8CEA-995BC9CAB869}" dt="2024-03-25T08:28:18.096" v="117" actId="478"/>
        <pc:sldMkLst>
          <pc:docMk/>
          <pc:sldMk cId="3765616603" sldId="2147375409"/>
        </pc:sldMkLst>
        <pc:spChg chg="del mod ord">
          <ac:chgData name="Jan Henderyckx (AMS)" userId="09968f1a-c611-4440-b311-9e079e55d7ec" providerId="ADAL" clId="{661979D1-6A90-764A-8CEA-995BC9CAB869}" dt="2024-03-25T08:27:57.243" v="112" actId="700"/>
          <ac:spMkLst>
            <pc:docMk/>
            <pc:sldMk cId="3765616603" sldId="2147375409"/>
            <ac:spMk id="2" creationId="{46E49B38-CBC5-D0C5-0375-D20E42895BFF}"/>
          </ac:spMkLst>
        </pc:spChg>
        <pc:spChg chg="add del mod ord">
          <ac:chgData name="Jan Henderyckx (AMS)" userId="09968f1a-c611-4440-b311-9e079e55d7ec" providerId="ADAL" clId="{661979D1-6A90-764A-8CEA-995BC9CAB869}" dt="2024-03-25T08:28:18.096" v="117" actId="478"/>
          <ac:spMkLst>
            <pc:docMk/>
            <pc:sldMk cId="3765616603" sldId="2147375409"/>
            <ac:spMk id="8" creationId="{61854E70-9F9F-E1DF-7552-9087EFFDDA66}"/>
          </ac:spMkLst>
        </pc:spChg>
        <pc:spChg chg="add del mod ord">
          <ac:chgData name="Jan Henderyckx (AMS)" userId="09968f1a-c611-4440-b311-9e079e55d7ec" providerId="ADAL" clId="{661979D1-6A90-764A-8CEA-995BC9CAB869}" dt="2024-03-25T08:28:18.096" v="117" actId="478"/>
          <ac:spMkLst>
            <pc:docMk/>
            <pc:sldMk cId="3765616603" sldId="2147375409"/>
            <ac:spMk id="9" creationId="{C98CE131-37D5-6CFD-C6A7-A196ED40C825}"/>
          </ac:spMkLst>
        </pc:spChg>
        <pc:spChg chg="add del">
          <ac:chgData name="Jan Henderyckx (AMS)" userId="09968f1a-c611-4440-b311-9e079e55d7ec" providerId="ADAL" clId="{661979D1-6A90-764A-8CEA-995BC9CAB869}" dt="2024-03-25T08:28:15.658" v="116" actId="26606"/>
          <ac:spMkLst>
            <pc:docMk/>
            <pc:sldMk cId="3765616603" sldId="2147375409"/>
            <ac:spMk id="14" creationId="{1E020063-2385-44AC-BD67-258E1F0B9FCE}"/>
          </ac:spMkLst>
        </pc:spChg>
        <pc:spChg chg="add del">
          <ac:chgData name="Jan Henderyckx (AMS)" userId="09968f1a-c611-4440-b311-9e079e55d7ec" providerId="ADAL" clId="{661979D1-6A90-764A-8CEA-995BC9CAB869}" dt="2024-03-25T08:28:15.658" v="116" actId="26606"/>
          <ac:spMkLst>
            <pc:docMk/>
            <pc:sldMk cId="3765616603" sldId="2147375409"/>
            <ac:spMk id="16" creationId="{7E014A0B-5338-4077-AFE9-A90D04D4492B}"/>
          </ac:spMkLst>
        </pc:spChg>
        <pc:grpChg chg="add mod">
          <ac:chgData name="Jan Henderyckx (AMS)" userId="09968f1a-c611-4440-b311-9e079e55d7ec" providerId="ADAL" clId="{661979D1-6A90-764A-8CEA-995BC9CAB869}" dt="2024-03-25T08:28:15.658" v="116" actId="26606"/>
          <ac:grpSpMkLst>
            <pc:docMk/>
            <pc:sldMk cId="3765616603" sldId="2147375409"/>
            <ac:grpSpMk id="7" creationId="{AE5D29DE-EED8-0C11-4690-2C8BDB615D56}"/>
          </ac:grpSpMkLst>
        </pc:grpChg>
        <pc:grpChg chg="add del">
          <ac:chgData name="Jan Henderyckx (AMS)" userId="09968f1a-c611-4440-b311-9e079e55d7ec" providerId="ADAL" clId="{661979D1-6A90-764A-8CEA-995BC9CAB869}" dt="2024-03-25T08:28:15.658" v="116" actId="26606"/>
          <ac:grpSpMkLst>
            <pc:docMk/>
            <pc:sldMk cId="3765616603" sldId="2147375409"/>
            <ac:grpSpMk id="18" creationId="{78127680-150F-4A90-9950-F66392578116}"/>
          </ac:grpSpMkLst>
        </pc:grpChg>
        <pc:grpChg chg="add del">
          <ac:chgData name="Jan Henderyckx (AMS)" userId="09968f1a-c611-4440-b311-9e079e55d7ec" providerId="ADAL" clId="{661979D1-6A90-764A-8CEA-995BC9CAB869}" dt="2024-03-25T08:28:15.658" v="116" actId="26606"/>
          <ac:grpSpMkLst>
            <pc:docMk/>
            <pc:sldMk cId="3765616603" sldId="2147375409"/>
            <ac:grpSpMk id="24" creationId="{466920E5-8640-4C24-A775-8647637094A7}"/>
          </ac:grpSpMkLst>
        </pc:grpChg>
        <pc:picChg chg="add mod">
          <ac:chgData name="Jan Henderyckx (AMS)" userId="09968f1a-c611-4440-b311-9e079e55d7ec" providerId="ADAL" clId="{661979D1-6A90-764A-8CEA-995BC9CAB869}" dt="2024-03-25T08:27:38.547" v="108"/>
          <ac:picMkLst>
            <pc:docMk/>
            <pc:sldMk cId="3765616603" sldId="2147375409"/>
            <ac:picMk id="3" creationId="{0ED443AD-379C-D9F9-F7D5-D0E6B321FD48}"/>
          </ac:picMkLst>
        </pc:picChg>
        <pc:picChg chg="add mod">
          <ac:chgData name="Jan Henderyckx (AMS)" userId="09968f1a-c611-4440-b311-9e079e55d7ec" providerId="ADAL" clId="{661979D1-6A90-764A-8CEA-995BC9CAB869}" dt="2024-03-25T08:27:38.547" v="108"/>
          <ac:picMkLst>
            <pc:docMk/>
            <pc:sldMk cId="3765616603" sldId="2147375409"/>
            <ac:picMk id="4" creationId="{49661D6F-0CBF-02C4-F531-7D51C2E43CFF}"/>
          </ac:picMkLst>
        </pc:picChg>
        <pc:picChg chg="add mod">
          <ac:chgData name="Jan Henderyckx (AMS)" userId="09968f1a-c611-4440-b311-9e079e55d7ec" providerId="ADAL" clId="{661979D1-6A90-764A-8CEA-995BC9CAB869}" dt="2024-03-25T08:27:38.547" v="108"/>
          <ac:picMkLst>
            <pc:docMk/>
            <pc:sldMk cId="3765616603" sldId="2147375409"/>
            <ac:picMk id="5" creationId="{0B71379D-B9C8-7B2A-9719-71AC777FBDC7}"/>
          </ac:picMkLst>
        </pc:picChg>
        <pc:picChg chg="add mod">
          <ac:chgData name="Jan Henderyckx (AMS)" userId="09968f1a-c611-4440-b311-9e079e55d7ec" providerId="ADAL" clId="{661979D1-6A90-764A-8CEA-995BC9CAB869}" dt="2024-03-25T08:27:38.547" v="108"/>
          <ac:picMkLst>
            <pc:docMk/>
            <pc:sldMk cId="3765616603" sldId="2147375409"/>
            <ac:picMk id="6" creationId="{3847849E-DA83-9485-3090-010637BC64A0}"/>
          </ac:picMkLst>
        </pc:picChg>
      </pc:sldChg>
      <pc:sldChg chg="add">
        <pc:chgData name="Jan Henderyckx (AMS)" userId="09968f1a-c611-4440-b311-9e079e55d7ec" providerId="ADAL" clId="{661979D1-6A90-764A-8CEA-995BC9CAB869}" dt="2024-03-25T08:28:33.724" v="118"/>
        <pc:sldMkLst>
          <pc:docMk/>
          <pc:sldMk cId="3211008152" sldId="2147375410"/>
        </pc:sldMkLst>
      </pc:sldChg>
      <pc:sldChg chg="addSp delSp modSp add mod ord chgLayout">
        <pc:chgData name="Jan Henderyckx (AMS)" userId="09968f1a-c611-4440-b311-9e079e55d7ec" providerId="ADAL" clId="{661979D1-6A90-764A-8CEA-995BC9CAB869}" dt="2024-03-25T17:38:46.234" v="921"/>
        <pc:sldMkLst>
          <pc:docMk/>
          <pc:sldMk cId="1633290643" sldId="2147375411"/>
        </pc:sldMkLst>
        <pc:spChg chg="add">
          <ac:chgData name="Jan Henderyckx (AMS)" userId="09968f1a-c611-4440-b311-9e079e55d7ec" providerId="ADAL" clId="{661979D1-6A90-764A-8CEA-995BC9CAB869}" dt="2024-03-25T17:14:37.615" v="666"/>
          <ac:spMkLst>
            <pc:docMk/>
            <pc:sldMk cId="1633290643" sldId="2147375411"/>
            <ac:spMk id="2" creationId="{C0DE2AB5-008F-E65B-708A-17B84F9A4076}"/>
          </ac:spMkLst>
        </pc:spChg>
        <pc:spChg chg="add del mod">
          <ac:chgData name="Jan Henderyckx (AMS)" userId="09968f1a-c611-4440-b311-9e079e55d7ec" providerId="ADAL" clId="{661979D1-6A90-764A-8CEA-995BC9CAB869}" dt="2024-03-25T17:19:04.395" v="720" actId="6264"/>
          <ac:spMkLst>
            <pc:docMk/>
            <pc:sldMk cId="1633290643" sldId="2147375411"/>
            <ac:spMk id="8" creationId="{A4CB8B94-280A-ED36-AF3E-2798A18DAEE0}"/>
          </ac:spMkLst>
        </pc:spChg>
        <pc:spChg chg="add del mod">
          <ac:chgData name="Jan Henderyckx (AMS)" userId="09968f1a-c611-4440-b311-9e079e55d7ec" providerId="ADAL" clId="{661979D1-6A90-764A-8CEA-995BC9CAB869}" dt="2024-03-25T17:19:04.395" v="720" actId="6264"/>
          <ac:spMkLst>
            <pc:docMk/>
            <pc:sldMk cId="1633290643" sldId="2147375411"/>
            <ac:spMk id="9" creationId="{0491B541-6F2A-D81C-94E9-1436F1E8C957}"/>
          </ac:spMkLst>
        </pc:spChg>
        <pc:spChg chg="mod ord">
          <ac:chgData name="Jan Henderyckx (AMS)" userId="09968f1a-c611-4440-b311-9e079e55d7ec" providerId="ADAL" clId="{661979D1-6A90-764A-8CEA-995BC9CAB869}" dt="2024-03-25T17:19:04.395" v="720" actId="6264"/>
          <ac:spMkLst>
            <pc:docMk/>
            <pc:sldMk cId="1633290643" sldId="2147375411"/>
            <ac:spMk id="11" creationId="{2700A7F2-370F-9551-139F-34E02722D373}"/>
          </ac:spMkLst>
        </pc:spChg>
        <pc:spChg chg="mod ord">
          <ac:chgData name="Jan Henderyckx (AMS)" userId="09968f1a-c611-4440-b311-9e079e55d7ec" providerId="ADAL" clId="{661979D1-6A90-764A-8CEA-995BC9CAB869}" dt="2024-03-25T17:22:15.945" v="825" actId="1076"/>
          <ac:spMkLst>
            <pc:docMk/>
            <pc:sldMk cId="1633290643" sldId="2147375411"/>
            <ac:spMk id="13" creationId="{6FD0513B-E391-1DE9-9FE7-475988277AF3}"/>
          </ac:spMkLst>
        </pc:spChg>
        <pc:spChg chg="add mod">
          <ac:chgData name="Jan Henderyckx (AMS)" userId="09968f1a-c611-4440-b311-9e079e55d7ec" providerId="ADAL" clId="{661979D1-6A90-764A-8CEA-995BC9CAB869}" dt="2024-03-25T17:22:10.274" v="824" actId="20577"/>
          <ac:spMkLst>
            <pc:docMk/>
            <pc:sldMk cId="1633290643" sldId="2147375411"/>
            <ac:spMk id="14" creationId="{D42A4612-D2F4-ECBC-B27C-D2414DECB684}"/>
          </ac:spMkLst>
        </pc:spChg>
        <pc:spChg chg="add mod">
          <ac:chgData name="Jan Henderyckx (AMS)" userId="09968f1a-c611-4440-b311-9e079e55d7ec" providerId="ADAL" clId="{661979D1-6A90-764A-8CEA-995BC9CAB869}" dt="2024-03-25T17:38:46.234" v="921"/>
          <ac:spMkLst>
            <pc:docMk/>
            <pc:sldMk cId="1633290643" sldId="2147375411"/>
            <ac:spMk id="15" creationId="{9F68CCCD-1700-346C-11FF-EF2128C9D564}"/>
          </ac:spMkLst>
        </pc:spChg>
        <pc:graphicFrameChg chg="add mod">
          <ac:chgData name="Jan Henderyckx (AMS)" userId="09968f1a-c611-4440-b311-9e079e55d7ec" providerId="ADAL" clId="{661979D1-6A90-764A-8CEA-995BC9CAB869}" dt="2024-03-25T17:19:43.144" v="724"/>
          <ac:graphicFrameMkLst>
            <pc:docMk/>
            <pc:sldMk cId="1633290643" sldId="2147375411"/>
            <ac:graphicFrameMk id="10" creationId="{4F1429A1-8B50-B2A7-1BC2-19049BF2B433}"/>
          </ac:graphicFrameMkLst>
        </pc:graphicFrameChg>
        <pc:picChg chg="add del mod">
          <ac:chgData name="Jan Henderyckx (AMS)" userId="09968f1a-c611-4440-b311-9e079e55d7ec" providerId="ADAL" clId="{661979D1-6A90-764A-8CEA-995BC9CAB869}" dt="2024-03-25T17:14:45.158" v="669" actId="21"/>
          <ac:picMkLst>
            <pc:docMk/>
            <pc:sldMk cId="1633290643" sldId="2147375411"/>
            <ac:picMk id="3" creationId="{7E81F1C2-B813-07D0-3690-5D25282998F7}"/>
          </ac:picMkLst>
        </pc:picChg>
        <pc:picChg chg="add del mod">
          <ac:chgData name="Jan Henderyckx (AMS)" userId="09968f1a-c611-4440-b311-9e079e55d7ec" providerId="ADAL" clId="{661979D1-6A90-764A-8CEA-995BC9CAB869}" dt="2024-03-25T17:16:17.015" v="681" actId="478"/>
          <ac:picMkLst>
            <pc:docMk/>
            <pc:sldMk cId="1633290643" sldId="2147375411"/>
            <ac:picMk id="5" creationId="{E820152A-F055-F2AF-EB2B-94C7F1DC70EA}"/>
          </ac:picMkLst>
        </pc:picChg>
        <pc:picChg chg="add mod">
          <ac:chgData name="Jan Henderyckx (AMS)" userId="09968f1a-c611-4440-b311-9e079e55d7ec" providerId="ADAL" clId="{661979D1-6A90-764A-8CEA-995BC9CAB869}" dt="2024-03-25T17:16:28.488" v="688" actId="29295"/>
          <ac:picMkLst>
            <pc:docMk/>
            <pc:sldMk cId="1633290643" sldId="2147375411"/>
            <ac:picMk id="7" creationId="{7B166786-E1BA-A885-3001-CDDAFAD60023}"/>
          </ac:picMkLst>
        </pc:picChg>
        <pc:picChg chg="del">
          <ac:chgData name="Jan Henderyckx (AMS)" userId="09968f1a-c611-4440-b311-9e079e55d7ec" providerId="ADAL" clId="{661979D1-6A90-764A-8CEA-995BC9CAB869}" dt="2024-03-25T17:11:25.951" v="665" actId="478"/>
          <ac:picMkLst>
            <pc:docMk/>
            <pc:sldMk cId="1633290643" sldId="2147375411"/>
            <ac:picMk id="16" creationId="{B5AB78E7-80C8-3077-484E-A4F8D4CE0431}"/>
          </ac:picMkLst>
        </pc:picChg>
        <pc:picChg chg="del">
          <ac:chgData name="Jan Henderyckx (AMS)" userId="09968f1a-c611-4440-b311-9e079e55d7ec" providerId="ADAL" clId="{661979D1-6A90-764A-8CEA-995BC9CAB869}" dt="2024-03-25T17:11:24.737" v="664" actId="478"/>
          <ac:picMkLst>
            <pc:docMk/>
            <pc:sldMk cId="1633290643" sldId="2147375411"/>
            <ac:picMk id="3076" creationId="{856CBA8B-0D92-E945-0880-956E684F4A58}"/>
          </ac:picMkLst>
        </pc:picChg>
      </pc:sldChg>
      <pc:sldMasterChg chg="delSldLayout modSldLayout">
        <pc:chgData name="Jan Henderyckx (AMS)" userId="09968f1a-c611-4440-b311-9e079e55d7ec" providerId="ADAL" clId="{661979D1-6A90-764A-8CEA-995BC9CAB869}" dt="2024-03-25T08:45:57.729" v="305" actId="167"/>
        <pc:sldMasterMkLst>
          <pc:docMk/>
          <pc:sldMasterMk cId="1308088195" sldId="2147483648"/>
        </pc:sldMasterMkLst>
        <pc:sldLayoutChg chg="addSp delSp modSp mod">
          <pc:chgData name="Jan Henderyckx (AMS)" userId="09968f1a-c611-4440-b311-9e079e55d7ec" providerId="ADAL" clId="{661979D1-6A90-764A-8CEA-995BC9CAB869}" dt="2024-03-25T08:45:57.729" v="305" actId="167"/>
          <pc:sldLayoutMkLst>
            <pc:docMk/>
            <pc:sldMasterMk cId="1308088195" sldId="2147483648"/>
            <pc:sldLayoutMk cId="438380256" sldId="2147483656"/>
          </pc:sldLayoutMkLst>
          <pc:spChg chg="add mod">
            <ac:chgData name="Jan Henderyckx (AMS)" userId="09968f1a-c611-4440-b311-9e079e55d7ec" providerId="ADAL" clId="{661979D1-6A90-764A-8CEA-995BC9CAB869}" dt="2024-03-25T08:16:16.550" v="37" actId="404"/>
            <ac:spMkLst>
              <pc:docMk/>
              <pc:sldMasterMk cId="1308088195" sldId="2147483648"/>
              <pc:sldLayoutMk cId="438380256" sldId="2147483656"/>
              <ac:spMk id="2" creationId="{548CD91F-B9FB-E754-7DF3-DF9E9416B2DE}"/>
            </ac:spMkLst>
          </pc:spChg>
          <pc:grpChg chg="add mod">
            <ac:chgData name="Jan Henderyckx (AMS)" userId="09968f1a-c611-4440-b311-9e079e55d7ec" providerId="ADAL" clId="{661979D1-6A90-764A-8CEA-995BC9CAB869}" dt="2024-03-25T08:45:05.251" v="294" actId="167"/>
            <ac:grpSpMkLst>
              <pc:docMk/>
              <pc:sldMasterMk cId="1308088195" sldId="2147483648"/>
              <pc:sldLayoutMk cId="438380256" sldId="2147483656"/>
              <ac:grpSpMk id="3" creationId="{8B4FAC32-9106-DCED-93E9-ABDDE7AE506E}"/>
            </ac:grpSpMkLst>
          </pc:grpChg>
          <pc:picChg chg="mod">
            <ac:chgData name="Jan Henderyckx (AMS)" userId="09968f1a-c611-4440-b311-9e079e55d7ec" providerId="ADAL" clId="{661979D1-6A90-764A-8CEA-995BC9CAB869}" dt="2024-03-25T08:45:01.941" v="293"/>
            <ac:picMkLst>
              <pc:docMk/>
              <pc:sldMasterMk cId="1308088195" sldId="2147483648"/>
              <pc:sldLayoutMk cId="438380256" sldId="2147483656"/>
              <ac:picMk id="4" creationId="{333E690F-7E2B-F944-7EF4-885262054416}"/>
            </ac:picMkLst>
          </pc:picChg>
          <pc:picChg chg="mod">
            <ac:chgData name="Jan Henderyckx (AMS)" userId="09968f1a-c611-4440-b311-9e079e55d7ec" providerId="ADAL" clId="{661979D1-6A90-764A-8CEA-995BC9CAB869}" dt="2024-03-25T08:45:01.941" v="293"/>
            <ac:picMkLst>
              <pc:docMk/>
              <pc:sldMasterMk cId="1308088195" sldId="2147483648"/>
              <pc:sldLayoutMk cId="438380256" sldId="2147483656"/>
              <ac:picMk id="5" creationId="{A2B0079E-0055-4AF1-B8EE-6B3E2F38ED00}"/>
            </ac:picMkLst>
          </pc:picChg>
          <pc:picChg chg="add mod">
            <ac:chgData name="Jan Henderyckx (AMS)" userId="09968f1a-c611-4440-b311-9e079e55d7ec" providerId="ADAL" clId="{661979D1-6A90-764A-8CEA-995BC9CAB869}" dt="2024-03-25T08:45:57.729" v="305" actId="167"/>
            <ac:picMkLst>
              <pc:docMk/>
              <pc:sldMasterMk cId="1308088195" sldId="2147483648"/>
              <pc:sldLayoutMk cId="438380256" sldId="2147483656"/>
              <ac:picMk id="6" creationId="{EFDA6486-4ED3-2EF7-CE93-3A02DBD8D4C3}"/>
            </ac:picMkLst>
          </pc:picChg>
          <pc:picChg chg="add del mod">
            <ac:chgData name="Jan Henderyckx (AMS)" userId="09968f1a-c611-4440-b311-9e079e55d7ec" providerId="ADAL" clId="{661979D1-6A90-764A-8CEA-995BC9CAB869}" dt="2024-03-25T08:45:45.479" v="301" actId="478"/>
            <ac:picMkLst>
              <pc:docMk/>
              <pc:sldMasterMk cId="1308088195" sldId="2147483648"/>
              <pc:sldLayoutMk cId="438380256" sldId="2147483656"/>
              <ac:picMk id="36" creationId="{C1234CD0-CDCE-9612-532D-823312C0EC4D}"/>
            </ac:picMkLst>
          </pc:picChg>
        </pc:sldLayoutChg>
        <pc:sldLayoutChg chg="addSp modSp mod">
          <pc:chgData name="Jan Henderyckx (AMS)" userId="09968f1a-c611-4440-b311-9e079e55d7ec" providerId="ADAL" clId="{661979D1-6A90-764A-8CEA-995BC9CAB869}" dt="2024-03-25T08:44:36.142" v="285" actId="1036"/>
          <pc:sldLayoutMkLst>
            <pc:docMk/>
            <pc:sldMasterMk cId="1308088195" sldId="2147483648"/>
            <pc:sldLayoutMk cId="1616461338" sldId="2147483669"/>
          </pc:sldLayoutMkLst>
          <pc:spChg chg="add mod">
            <ac:chgData name="Jan Henderyckx (AMS)" userId="09968f1a-c611-4440-b311-9e079e55d7ec" providerId="ADAL" clId="{661979D1-6A90-764A-8CEA-995BC9CAB869}" dt="2024-03-25T08:16:42.328" v="41" actId="108"/>
            <ac:spMkLst>
              <pc:docMk/>
              <pc:sldMasterMk cId="1308088195" sldId="2147483648"/>
              <pc:sldLayoutMk cId="1616461338" sldId="2147483669"/>
              <ac:spMk id="5" creationId="{616517EE-F4FB-2360-2CE7-96A495B055C6}"/>
            </ac:spMkLst>
          </pc:spChg>
          <pc:grpChg chg="mod">
            <ac:chgData name="Jan Henderyckx (AMS)" userId="09968f1a-c611-4440-b311-9e079e55d7ec" providerId="ADAL" clId="{661979D1-6A90-764A-8CEA-995BC9CAB869}" dt="2024-03-25T08:44:36.142" v="285" actId="1036"/>
            <ac:grpSpMkLst>
              <pc:docMk/>
              <pc:sldMasterMk cId="1308088195" sldId="2147483648"/>
              <pc:sldLayoutMk cId="1616461338" sldId="2147483669"/>
              <ac:grpSpMk id="4" creationId="{482A02E9-E028-6430-2D3F-2F0EE0618577}"/>
            </ac:grpSpMkLst>
          </pc:grpChg>
          <pc:picChg chg="mod">
            <ac:chgData name="Jan Henderyckx (AMS)" userId="09968f1a-c611-4440-b311-9e079e55d7ec" providerId="ADAL" clId="{661979D1-6A90-764A-8CEA-995BC9CAB869}" dt="2024-03-25T08:16:32.894" v="40" actId="108"/>
            <ac:picMkLst>
              <pc:docMk/>
              <pc:sldMasterMk cId="1308088195" sldId="2147483648"/>
              <pc:sldLayoutMk cId="1616461338" sldId="2147483669"/>
              <ac:picMk id="2" creationId="{21C91832-CB34-6EF0-3474-3E222BEEE2EA}"/>
            </ac:picMkLst>
          </pc:picChg>
          <pc:picChg chg="mod">
            <ac:chgData name="Jan Henderyckx (AMS)" userId="09968f1a-c611-4440-b311-9e079e55d7ec" providerId="ADAL" clId="{661979D1-6A90-764A-8CEA-995BC9CAB869}" dt="2024-03-25T08:16:32.894" v="40" actId="108"/>
            <ac:picMkLst>
              <pc:docMk/>
              <pc:sldMasterMk cId="1308088195" sldId="2147483648"/>
              <pc:sldLayoutMk cId="1616461338" sldId="2147483669"/>
              <ac:picMk id="3" creationId="{E7923DC3-85ED-6125-AC46-6E89469676CB}"/>
            </ac:picMkLst>
          </pc:picChg>
        </pc:sldLayoutChg>
        <pc:sldLayoutChg chg="addSp delSp modSp mod">
          <pc:chgData name="Jan Henderyckx (AMS)" userId="09968f1a-c611-4440-b311-9e079e55d7ec" providerId="ADAL" clId="{661979D1-6A90-764A-8CEA-995BC9CAB869}" dt="2024-03-25T08:44:44.285" v="288" actId="167"/>
          <pc:sldLayoutMkLst>
            <pc:docMk/>
            <pc:sldMasterMk cId="1308088195" sldId="2147483648"/>
            <pc:sldLayoutMk cId="1548772707" sldId="2147483670"/>
          </pc:sldLayoutMkLst>
          <pc:spChg chg="del">
            <ac:chgData name="Jan Henderyckx (AMS)" userId="09968f1a-c611-4440-b311-9e079e55d7ec" providerId="ADAL" clId="{661979D1-6A90-764A-8CEA-995BC9CAB869}" dt="2024-03-25T08:15:44.554" v="30"/>
            <ac:spMkLst>
              <pc:docMk/>
              <pc:sldMasterMk cId="1308088195" sldId="2147483648"/>
              <pc:sldLayoutMk cId="1548772707" sldId="2147483670"/>
              <ac:spMk id="2" creationId="{4882F365-C12B-9742-932E-73C723F6923C}"/>
            </ac:spMkLst>
          </pc:spChg>
          <pc:spChg chg="add mod">
            <ac:chgData name="Jan Henderyckx (AMS)" userId="09968f1a-c611-4440-b311-9e079e55d7ec" providerId="ADAL" clId="{661979D1-6A90-764A-8CEA-995BC9CAB869}" dt="2024-03-25T08:16:26.668" v="39" actId="108"/>
            <ac:spMkLst>
              <pc:docMk/>
              <pc:sldMasterMk cId="1308088195" sldId="2147483648"/>
              <pc:sldLayoutMk cId="1548772707" sldId="2147483670"/>
              <ac:spMk id="7" creationId="{6B0920F7-8659-2DE2-1A93-B3F8B4961841}"/>
            </ac:spMkLst>
          </pc:spChg>
          <pc:grpChg chg="add mod">
            <ac:chgData name="Jan Henderyckx (AMS)" userId="09968f1a-c611-4440-b311-9e079e55d7ec" providerId="ADAL" clId="{661979D1-6A90-764A-8CEA-995BC9CAB869}" dt="2024-03-25T08:44:44.285" v="288" actId="167"/>
            <ac:grpSpMkLst>
              <pc:docMk/>
              <pc:sldMasterMk cId="1308088195" sldId="2147483648"/>
              <pc:sldLayoutMk cId="1548772707" sldId="2147483670"/>
              <ac:grpSpMk id="2" creationId="{288DEA7C-9158-8621-0078-D89092ADCB61}"/>
            </ac:grpSpMkLst>
          </pc:grpChg>
          <pc:grpChg chg="del">
            <ac:chgData name="Jan Henderyckx (AMS)" userId="09968f1a-c611-4440-b311-9e079e55d7ec" providerId="ADAL" clId="{661979D1-6A90-764A-8CEA-995BC9CAB869}" dt="2024-03-25T08:44:40.250" v="286" actId="478"/>
            <ac:grpSpMkLst>
              <pc:docMk/>
              <pc:sldMasterMk cId="1308088195" sldId="2147483648"/>
              <pc:sldLayoutMk cId="1548772707" sldId="2147483670"/>
              <ac:grpSpMk id="3" creationId="{03CD27FD-8AD2-39E2-E708-A69AEF2D0484}"/>
            </ac:grpSpMkLst>
          </pc:grpChg>
          <pc:picChg chg="mod">
            <ac:chgData name="Jan Henderyckx (AMS)" userId="09968f1a-c611-4440-b311-9e079e55d7ec" providerId="ADAL" clId="{661979D1-6A90-764A-8CEA-995BC9CAB869}" dt="2024-03-25T08:44:40.913" v="287"/>
            <ac:picMkLst>
              <pc:docMk/>
              <pc:sldMasterMk cId="1308088195" sldId="2147483648"/>
              <pc:sldLayoutMk cId="1548772707" sldId="2147483670"/>
              <ac:picMk id="8" creationId="{C05BD1C1-F5DA-49E6-8BC1-688B550FC0AC}"/>
            </ac:picMkLst>
          </pc:picChg>
          <pc:picChg chg="mod">
            <ac:chgData name="Jan Henderyckx (AMS)" userId="09968f1a-c611-4440-b311-9e079e55d7ec" providerId="ADAL" clId="{661979D1-6A90-764A-8CEA-995BC9CAB869}" dt="2024-03-25T08:44:40.913" v="287"/>
            <ac:picMkLst>
              <pc:docMk/>
              <pc:sldMasterMk cId="1308088195" sldId="2147483648"/>
              <pc:sldLayoutMk cId="1548772707" sldId="2147483670"/>
              <ac:picMk id="9" creationId="{A76B96BE-4C8A-EAC3-6DA8-70CB48305B46}"/>
            </ac:picMkLst>
          </pc:picChg>
        </pc:sldLayoutChg>
        <pc:sldLayoutChg chg="addSp delSp modSp mod">
          <pc:chgData name="Jan Henderyckx (AMS)" userId="09968f1a-c611-4440-b311-9e079e55d7ec" providerId="ADAL" clId="{661979D1-6A90-764A-8CEA-995BC9CAB869}" dt="2024-03-25T08:45:51.499" v="303" actId="478"/>
          <pc:sldLayoutMkLst>
            <pc:docMk/>
            <pc:sldMasterMk cId="1308088195" sldId="2147483648"/>
            <pc:sldLayoutMk cId="2045670787" sldId="2147483671"/>
          </pc:sldLayoutMkLst>
          <pc:grpChg chg="add mod">
            <ac:chgData name="Jan Henderyckx (AMS)" userId="09968f1a-c611-4440-b311-9e079e55d7ec" providerId="ADAL" clId="{661979D1-6A90-764A-8CEA-995BC9CAB869}" dt="2024-03-25T08:44:54.754" v="291" actId="167"/>
            <ac:grpSpMkLst>
              <pc:docMk/>
              <pc:sldMasterMk cId="1308088195" sldId="2147483648"/>
              <pc:sldLayoutMk cId="2045670787" sldId="2147483671"/>
              <ac:grpSpMk id="2" creationId="{A594B575-A2EA-AFC1-93DF-66D55AAF577B}"/>
            </ac:grpSpMkLst>
          </pc:grpChg>
          <pc:grpChg chg="del">
            <ac:chgData name="Jan Henderyckx (AMS)" userId="09968f1a-c611-4440-b311-9e079e55d7ec" providerId="ADAL" clId="{661979D1-6A90-764A-8CEA-995BC9CAB869}" dt="2024-03-25T08:44:50.210" v="289" actId="478"/>
            <ac:grpSpMkLst>
              <pc:docMk/>
              <pc:sldMasterMk cId="1308088195" sldId="2147483648"/>
              <pc:sldLayoutMk cId="2045670787" sldId="2147483671"/>
              <ac:grpSpMk id="4" creationId="{5EC4E197-1B39-E7BB-92B7-35C0783E5A74}"/>
            </ac:grpSpMkLst>
          </pc:grpChg>
          <pc:picChg chg="mod">
            <ac:chgData name="Jan Henderyckx (AMS)" userId="09968f1a-c611-4440-b311-9e079e55d7ec" providerId="ADAL" clId="{661979D1-6A90-764A-8CEA-995BC9CAB869}" dt="2024-03-25T08:44:50.703" v="290"/>
            <ac:picMkLst>
              <pc:docMk/>
              <pc:sldMasterMk cId="1308088195" sldId="2147483648"/>
              <pc:sldLayoutMk cId="2045670787" sldId="2147483671"/>
              <ac:picMk id="7" creationId="{A54CE218-15AB-63CD-87CE-A60E3AD9CC46}"/>
            </ac:picMkLst>
          </pc:picChg>
          <pc:picChg chg="mod">
            <ac:chgData name="Jan Henderyckx (AMS)" userId="09968f1a-c611-4440-b311-9e079e55d7ec" providerId="ADAL" clId="{661979D1-6A90-764A-8CEA-995BC9CAB869}" dt="2024-03-25T08:44:50.703" v="290"/>
            <ac:picMkLst>
              <pc:docMk/>
              <pc:sldMasterMk cId="1308088195" sldId="2147483648"/>
              <pc:sldLayoutMk cId="2045670787" sldId="2147483671"/>
              <ac:picMk id="8" creationId="{5B9B157E-D9F2-0086-F2CE-2CEDA9310888}"/>
            </ac:picMkLst>
          </pc:picChg>
          <pc:picChg chg="add del mod">
            <ac:chgData name="Jan Henderyckx (AMS)" userId="09968f1a-c611-4440-b311-9e079e55d7ec" providerId="ADAL" clId="{661979D1-6A90-764A-8CEA-995BC9CAB869}" dt="2024-03-25T08:45:51.499" v="303" actId="478"/>
            <ac:picMkLst>
              <pc:docMk/>
              <pc:sldMasterMk cId="1308088195" sldId="2147483648"/>
              <pc:sldLayoutMk cId="2045670787" sldId="2147483671"/>
              <ac:picMk id="10" creationId="{83CF5B93-9B94-B9D3-45F4-799A4FFD059E}"/>
            </ac:picMkLst>
          </pc:picChg>
        </pc:sldLayoutChg>
        <pc:sldLayoutChg chg="addSp delSp modSp mod">
          <pc:chgData name="Jan Henderyckx (AMS)" userId="09968f1a-c611-4440-b311-9e079e55d7ec" providerId="ADAL" clId="{661979D1-6A90-764A-8CEA-995BC9CAB869}" dt="2024-03-25T08:45:32.393" v="299" actId="478"/>
          <pc:sldLayoutMkLst>
            <pc:docMk/>
            <pc:sldMasterMk cId="1308088195" sldId="2147483648"/>
            <pc:sldLayoutMk cId="2668888121" sldId="2147483672"/>
          </pc:sldLayoutMkLst>
          <pc:spChg chg="add mod">
            <ac:chgData name="Jan Henderyckx (AMS)" userId="09968f1a-c611-4440-b311-9e079e55d7ec" providerId="ADAL" clId="{661979D1-6A90-764A-8CEA-995BC9CAB869}" dt="2024-03-25T08:16:20.774" v="38" actId="108"/>
            <ac:spMkLst>
              <pc:docMk/>
              <pc:sldMasterMk cId="1308088195" sldId="2147483648"/>
              <pc:sldLayoutMk cId="2668888121" sldId="2147483672"/>
              <ac:spMk id="3" creationId="{ABF0FF63-5796-0A69-AEE1-0F4D36AB6E83}"/>
            </ac:spMkLst>
          </pc:spChg>
          <pc:grpChg chg="del mod">
            <ac:chgData name="Jan Henderyckx (AMS)" userId="09968f1a-c611-4440-b311-9e079e55d7ec" providerId="ADAL" clId="{661979D1-6A90-764A-8CEA-995BC9CAB869}" dt="2024-03-25T08:45:32.393" v="299" actId="478"/>
            <ac:grpSpMkLst>
              <pc:docMk/>
              <pc:sldMasterMk cId="1308088195" sldId="2147483648"/>
              <pc:sldLayoutMk cId="2668888121" sldId="2147483672"/>
              <ac:grpSpMk id="10" creationId="{527B6320-8084-20BD-53FF-9AFA161EF1BD}"/>
            </ac:grpSpMkLst>
          </pc:grpChg>
          <pc:picChg chg="mod">
            <ac:chgData name="Jan Henderyckx (AMS)" userId="09968f1a-c611-4440-b311-9e079e55d7ec" providerId="ADAL" clId="{661979D1-6A90-764A-8CEA-995BC9CAB869}" dt="2024-03-25T08:45:25.405" v="297" actId="14100"/>
            <ac:picMkLst>
              <pc:docMk/>
              <pc:sldMasterMk cId="1308088195" sldId="2147483648"/>
              <pc:sldLayoutMk cId="2668888121" sldId="2147483672"/>
              <ac:picMk id="36" creationId="{C1234CD0-CDCE-9612-532D-823312C0EC4D}"/>
            </ac:picMkLst>
          </pc:picChg>
        </pc:sldLayoutChg>
        <pc:sldLayoutChg chg="del">
          <pc:chgData name="Jan Henderyckx (AMS)" userId="09968f1a-c611-4440-b311-9e079e55d7ec" providerId="ADAL" clId="{661979D1-6A90-764A-8CEA-995BC9CAB869}" dt="2024-03-25T08:15:59.395" v="34" actId="2696"/>
          <pc:sldLayoutMkLst>
            <pc:docMk/>
            <pc:sldMasterMk cId="1308088195" sldId="2147483648"/>
            <pc:sldLayoutMk cId="1321688515" sldId="2147483673"/>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36EEF3-595C-EF48-AEE7-C67155889CF7}" type="doc">
      <dgm:prSet loTypeId="urn:microsoft.com/office/officeart/2005/8/layout/gear1" loCatId="" qsTypeId="urn:microsoft.com/office/officeart/2005/8/quickstyle/simple3" qsCatId="simple" csTypeId="urn:microsoft.com/office/officeart/2005/8/colors/accent1_5" csCatId="accent1" phldr="1"/>
      <dgm:spPr/>
    </dgm:pt>
    <dgm:pt modelId="{107C1FB9-EC4D-674E-996D-FEC8E24BF965}">
      <dgm:prSet phldrT="[Text]" custT="1"/>
      <dgm:spPr/>
      <dgm:t>
        <a:bodyPr/>
        <a:lstStyle/>
        <a:p>
          <a:r>
            <a:rPr lang="en-GB" sz="1400" dirty="0">
              <a:solidFill>
                <a:schemeClr val="bg1"/>
              </a:solidFill>
            </a:rPr>
            <a:t>REGULATIONS</a:t>
          </a:r>
          <a:endParaRPr lang="en-GB" sz="1000" dirty="0">
            <a:solidFill>
              <a:schemeClr val="bg1"/>
            </a:solidFill>
          </a:endParaRPr>
        </a:p>
      </dgm:t>
    </dgm:pt>
    <dgm:pt modelId="{3FEC06F9-7A4C-2146-84F1-AA23CD3A93F1}" type="parTrans" cxnId="{AB1F43DC-6041-B14D-8183-F7E0875548C1}">
      <dgm:prSet/>
      <dgm:spPr/>
      <dgm:t>
        <a:bodyPr/>
        <a:lstStyle/>
        <a:p>
          <a:endParaRPr lang="en-GB"/>
        </a:p>
      </dgm:t>
    </dgm:pt>
    <dgm:pt modelId="{37C03B89-0613-AF46-B0AC-CB5C01B9E80F}" type="sibTrans" cxnId="{AB1F43DC-6041-B14D-8183-F7E0875548C1}">
      <dgm:prSet/>
      <dgm:spPr/>
      <dgm:t>
        <a:bodyPr/>
        <a:lstStyle/>
        <a:p>
          <a:endParaRPr lang="en-GB"/>
        </a:p>
      </dgm:t>
    </dgm:pt>
    <dgm:pt modelId="{6360ECF1-51BE-2048-876B-DD4EB9E78272}">
      <dgm:prSet phldrT="[Text]"/>
      <dgm:spPr/>
      <dgm:t>
        <a:bodyPr/>
        <a:lstStyle/>
        <a:p>
          <a:r>
            <a:rPr lang="en-GB" dirty="0">
              <a:solidFill>
                <a:schemeClr val="bg1"/>
              </a:solidFill>
            </a:rPr>
            <a:t>FRAMEWORKS</a:t>
          </a:r>
        </a:p>
      </dgm:t>
    </dgm:pt>
    <dgm:pt modelId="{CC1765DE-691D-D548-842B-992D1C77AEC0}" type="parTrans" cxnId="{072F7DBB-8B54-7344-92AD-88CF113F7399}">
      <dgm:prSet/>
      <dgm:spPr/>
      <dgm:t>
        <a:bodyPr/>
        <a:lstStyle/>
        <a:p>
          <a:endParaRPr lang="en-GB"/>
        </a:p>
      </dgm:t>
    </dgm:pt>
    <dgm:pt modelId="{5B1CB080-80BF-F842-B4D9-CFA4E3E62344}" type="sibTrans" cxnId="{072F7DBB-8B54-7344-92AD-88CF113F7399}">
      <dgm:prSet/>
      <dgm:spPr/>
      <dgm:t>
        <a:bodyPr/>
        <a:lstStyle/>
        <a:p>
          <a:endParaRPr lang="en-GB"/>
        </a:p>
      </dgm:t>
    </dgm:pt>
    <dgm:pt modelId="{75087F33-2231-9F42-A7C4-D66ED4C8FC9A}">
      <dgm:prSet phldrT="[Text]"/>
      <dgm:spPr/>
      <dgm:t>
        <a:bodyPr/>
        <a:lstStyle/>
        <a:p>
          <a:r>
            <a:rPr lang="en-GB" dirty="0">
              <a:solidFill>
                <a:schemeClr val="bg1"/>
              </a:solidFill>
            </a:rPr>
            <a:t>BEST PRACTICES</a:t>
          </a:r>
        </a:p>
      </dgm:t>
    </dgm:pt>
    <dgm:pt modelId="{2BCCEA33-8218-8C4B-8B69-68FF7F7ACDB2}" type="parTrans" cxnId="{340E7DC3-F097-6240-87D5-727F26CC3D32}">
      <dgm:prSet/>
      <dgm:spPr/>
      <dgm:t>
        <a:bodyPr/>
        <a:lstStyle/>
        <a:p>
          <a:endParaRPr lang="en-GB"/>
        </a:p>
      </dgm:t>
    </dgm:pt>
    <dgm:pt modelId="{519E784A-82DA-6243-B706-D91DF63C68F0}" type="sibTrans" cxnId="{340E7DC3-F097-6240-87D5-727F26CC3D32}">
      <dgm:prSet/>
      <dgm:spPr/>
      <dgm:t>
        <a:bodyPr/>
        <a:lstStyle/>
        <a:p>
          <a:endParaRPr lang="en-GB"/>
        </a:p>
      </dgm:t>
    </dgm:pt>
    <dgm:pt modelId="{E5D1891D-A2A2-004E-AAC2-50E1E2CAA6F5}" type="pres">
      <dgm:prSet presAssocID="{5836EEF3-595C-EF48-AEE7-C67155889CF7}" presName="composite" presStyleCnt="0">
        <dgm:presLayoutVars>
          <dgm:chMax val="3"/>
          <dgm:animLvl val="lvl"/>
          <dgm:resizeHandles val="exact"/>
        </dgm:presLayoutVars>
      </dgm:prSet>
      <dgm:spPr/>
    </dgm:pt>
    <dgm:pt modelId="{7EE8B34D-5CF8-E94F-BE47-99AD1DCA088B}" type="pres">
      <dgm:prSet presAssocID="{107C1FB9-EC4D-674E-996D-FEC8E24BF965}" presName="gear1" presStyleLbl="node1" presStyleIdx="0" presStyleCnt="3">
        <dgm:presLayoutVars>
          <dgm:chMax val="1"/>
          <dgm:bulletEnabled val="1"/>
        </dgm:presLayoutVars>
      </dgm:prSet>
      <dgm:spPr/>
    </dgm:pt>
    <dgm:pt modelId="{47C2BACD-71A6-1442-A878-25283821BDA7}" type="pres">
      <dgm:prSet presAssocID="{107C1FB9-EC4D-674E-996D-FEC8E24BF965}" presName="gear1srcNode" presStyleLbl="node1" presStyleIdx="0" presStyleCnt="3"/>
      <dgm:spPr/>
    </dgm:pt>
    <dgm:pt modelId="{764525E3-5395-1643-A7BA-4FC5FBA7E2AC}" type="pres">
      <dgm:prSet presAssocID="{107C1FB9-EC4D-674E-996D-FEC8E24BF965}" presName="gear1dstNode" presStyleLbl="node1" presStyleIdx="0" presStyleCnt="3"/>
      <dgm:spPr/>
    </dgm:pt>
    <dgm:pt modelId="{2081A57D-2438-1648-9B90-A42197A77A4A}" type="pres">
      <dgm:prSet presAssocID="{6360ECF1-51BE-2048-876B-DD4EB9E78272}" presName="gear2" presStyleLbl="node1" presStyleIdx="1" presStyleCnt="3">
        <dgm:presLayoutVars>
          <dgm:chMax val="1"/>
          <dgm:bulletEnabled val="1"/>
        </dgm:presLayoutVars>
      </dgm:prSet>
      <dgm:spPr/>
    </dgm:pt>
    <dgm:pt modelId="{867A9BF8-6AF6-564B-805B-606E5DC85240}" type="pres">
      <dgm:prSet presAssocID="{6360ECF1-51BE-2048-876B-DD4EB9E78272}" presName="gear2srcNode" presStyleLbl="node1" presStyleIdx="1" presStyleCnt="3"/>
      <dgm:spPr/>
    </dgm:pt>
    <dgm:pt modelId="{37C96DC4-601D-F346-A8FE-8ECF985F54EF}" type="pres">
      <dgm:prSet presAssocID="{6360ECF1-51BE-2048-876B-DD4EB9E78272}" presName="gear2dstNode" presStyleLbl="node1" presStyleIdx="1" presStyleCnt="3"/>
      <dgm:spPr/>
    </dgm:pt>
    <dgm:pt modelId="{C8AA5FFF-A34F-6541-91E9-45706365FA2F}" type="pres">
      <dgm:prSet presAssocID="{75087F33-2231-9F42-A7C4-D66ED4C8FC9A}" presName="gear3" presStyleLbl="node1" presStyleIdx="2" presStyleCnt="3"/>
      <dgm:spPr/>
    </dgm:pt>
    <dgm:pt modelId="{79D6FCC8-F9CF-A14A-8C3A-BE8F5F76BD9B}" type="pres">
      <dgm:prSet presAssocID="{75087F33-2231-9F42-A7C4-D66ED4C8FC9A}" presName="gear3tx" presStyleLbl="node1" presStyleIdx="2" presStyleCnt="3">
        <dgm:presLayoutVars>
          <dgm:chMax val="1"/>
          <dgm:bulletEnabled val="1"/>
        </dgm:presLayoutVars>
      </dgm:prSet>
      <dgm:spPr/>
    </dgm:pt>
    <dgm:pt modelId="{1F8D034C-8141-6C44-909B-F21E42017950}" type="pres">
      <dgm:prSet presAssocID="{75087F33-2231-9F42-A7C4-D66ED4C8FC9A}" presName="gear3srcNode" presStyleLbl="node1" presStyleIdx="2" presStyleCnt="3"/>
      <dgm:spPr/>
    </dgm:pt>
    <dgm:pt modelId="{730DA0F4-B071-0346-A6AF-FF8BC87A78A7}" type="pres">
      <dgm:prSet presAssocID="{75087F33-2231-9F42-A7C4-D66ED4C8FC9A}" presName="gear3dstNode" presStyleLbl="node1" presStyleIdx="2" presStyleCnt="3"/>
      <dgm:spPr/>
    </dgm:pt>
    <dgm:pt modelId="{F7EC1DD9-EC7C-D148-BD35-24D902967CFF}" type="pres">
      <dgm:prSet presAssocID="{37C03B89-0613-AF46-B0AC-CB5C01B9E80F}" presName="connector1" presStyleLbl="sibTrans2D1" presStyleIdx="0" presStyleCnt="3"/>
      <dgm:spPr/>
    </dgm:pt>
    <dgm:pt modelId="{1A7B9866-12CE-2841-B9B6-45F68FE75617}" type="pres">
      <dgm:prSet presAssocID="{5B1CB080-80BF-F842-B4D9-CFA4E3E62344}" presName="connector2" presStyleLbl="sibTrans2D1" presStyleIdx="1" presStyleCnt="3"/>
      <dgm:spPr/>
    </dgm:pt>
    <dgm:pt modelId="{F3AB88E3-0258-474B-940B-4CD08CD0D73B}" type="pres">
      <dgm:prSet presAssocID="{519E784A-82DA-6243-B706-D91DF63C68F0}" presName="connector3" presStyleLbl="sibTrans2D1" presStyleIdx="2" presStyleCnt="3"/>
      <dgm:spPr/>
    </dgm:pt>
  </dgm:ptLst>
  <dgm:cxnLst>
    <dgm:cxn modelId="{F141A50A-D244-1847-96A1-8AEA81087DAE}" type="presOf" srcId="{75087F33-2231-9F42-A7C4-D66ED4C8FC9A}" destId="{730DA0F4-B071-0346-A6AF-FF8BC87A78A7}" srcOrd="3" destOrd="0" presId="urn:microsoft.com/office/officeart/2005/8/layout/gear1"/>
    <dgm:cxn modelId="{A14B9630-D7EA-EC41-B345-B372586772E0}" type="presOf" srcId="{6360ECF1-51BE-2048-876B-DD4EB9E78272}" destId="{2081A57D-2438-1648-9B90-A42197A77A4A}" srcOrd="0" destOrd="0" presId="urn:microsoft.com/office/officeart/2005/8/layout/gear1"/>
    <dgm:cxn modelId="{14885D40-51E0-6340-B152-6DC19D7D22F9}" type="presOf" srcId="{5836EEF3-595C-EF48-AEE7-C67155889CF7}" destId="{E5D1891D-A2A2-004E-AAC2-50E1E2CAA6F5}" srcOrd="0" destOrd="0" presId="urn:microsoft.com/office/officeart/2005/8/layout/gear1"/>
    <dgm:cxn modelId="{0F60564C-B726-7D4A-807C-880B2F39187F}" type="presOf" srcId="{519E784A-82DA-6243-B706-D91DF63C68F0}" destId="{F3AB88E3-0258-474B-940B-4CD08CD0D73B}" srcOrd="0" destOrd="0" presId="urn:microsoft.com/office/officeart/2005/8/layout/gear1"/>
    <dgm:cxn modelId="{8A44BC52-1F75-D642-A5D7-0A9AA4645299}" type="presOf" srcId="{37C03B89-0613-AF46-B0AC-CB5C01B9E80F}" destId="{F7EC1DD9-EC7C-D148-BD35-24D902967CFF}" srcOrd="0" destOrd="0" presId="urn:microsoft.com/office/officeart/2005/8/layout/gear1"/>
    <dgm:cxn modelId="{35AF8A59-A6B9-6E4D-A041-DB6FD41A0198}" type="presOf" srcId="{6360ECF1-51BE-2048-876B-DD4EB9E78272}" destId="{867A9BF8-6AF6-564B-805B-606E5DC85240}" srcOrd="1" destOrd="0" presId="urn:microsoft.com/office/officeart/2005/8/layout/gear1"/>
    <dgm:cxn modelId="{52D9F675-5823-6D46-99E5-E7E7838952CE}" type="presOf" srcId="{6360ECF1-51BE-2048-876B-DD4EB9E78272}" destId="{37C96DC4-601D-F346-A8FE-8ECF985F54EF}" srcOrd="2" destOrd="0" presId="urn:microsoft.com/office/officeart/2005/8/layout/gear1"/>
    <dgm:cxn modelId="{ACCA85AC-D757-DB4F-B1BE-C02729B9DA40}" type="presOf" srcId="{107C1FB9-EC4D-674E-996D-FEC8E24BF965}" destId="{764525E3-5395-1643-A7BA-4FC5FBA7E2AC}" srcOrd="2" destOrd="0" presId="urn:microsoft.com/office/officeart/2005/8/layout/gear1"/>
    <dgm:cxn modelId="{87D100AD-8E40-8749-A3E2-6F690111A273}" type="presOf" srcId="{107C1FB9-EC4D-674E-996D-FEC8E24BF965}" destId="{47C2BACD-71A6-1442-A878-25283821BDA7}" srcOrd="1" destOrd="0" presId="urn:microsoft.com/office/officeart/2005/8/layout/gear1"/>
    <dgm:cxn modelId="{072F7DBB-8B54-7344-92AD-88CF113F7399}" srcId="{5836EEF3-595C-EF48-AEE7-C67155889CF7}" destId="{6360ECF1-51BE-2048-876B-DD4EB9E78272}" srcOrd="1" destOrd="0" parTransId="{CC1765DE-691D-D548-842B-992D1C77AEC0}" sibTransId="{5B1CB080-80BF-F842-B4D9-CFA4E3E62344}"/>
    <dgm:cxn modelId="{D26971C2-9380-5D4F-B33F-5B65E9647331}" type="presOf" srcId="{75087F33-2231-9F42-A7C4-D66ED4C8FC9A}" destId="{79D6FCC8-F9CF-A14A-8C3A-BE8F5F76BD9B}" srcOrd="1" destOrd="0" presId="urn:microsoft.com/office/officeart/2005/8/layout/gear1"/>
    <dgm:cxn modelId="{340E7DC3-F097-6240-87D5-727F26CC3D32}" srcId="{5836EEF3-595C-EF48-AEE7-C67155889CF7}" destId="{75087F33-2231-9F42-A7C4-D66ED4C8FC9A}" srcOrd="2" destOrd="0" parTransId="{2BCCEA33-8218-8C4B-8B69-68FF7F7ACDB2}" sibTransId="{519E784A-82DA-6243-B706-D91DF63C68F0}"/>
    <dgm:cxn modelId="{EE8725D7-28EE-714A-8030-92C829FF8CB2}" type="presOf" srcId="{5B1CB080-80BF-F842-B4D9-CFA4E3E62344}" destId="{1A7B9866-12CE-2841-B9B6-45F68FE75617}" srcOrd="0" destOrd="0" presId="urn:microsoft.com/office/officeart/2005/8/layout/gear1"/>
    <dgm:cxn modelId="{AB1F43DC-6041-B14D-8183-F7E0875548C1}" srcId="{5836EEF3-595C-EF48-AEE7-C67155889CF7}" destId="{107C1FB9-EC4D-674E-996D-FEC8E24BF965}" srcOrd="0" destOrd="0" parTransId="{3FEC06F9-7A4C-2146-84F1-AA23CD3A93F1}" sibTransId="{37C03B89-0613-AF46-B0AC-CB5C01B9E80F}"/>
    <dgm:cxn modelId="{32D792F4-877B-0748-9894-3E040A60154E}" type="presOf" srcId="{75087F33-2231-9F42-A7C4-D66ED4C8FC9A}" destId="{C8AA5FFF-A34F-6541-91E9-45706365FA2F}" srcOrd="0" destOrd="0" presId="urn:microsoft.com/office/officeart/2005/8/layout/gear1"/>
    <dgm:cxn modelId="{3E38D3F6-0A25-C642-A56D-91A5148DC1FF}" type="presOf" srcId="{75087F33-2231-9F42-A7C4-D66ED4C8FC9A}" destId="{1F8D034C-8141-6C44-909B-F21E42017950}" srcOrd="2" destOrd="0" presId="urn:microsoft.com/office/officeart/2005/8/layout/gear1"/>
    <dgm:cxn modelId="{EEB33AFC-63AD-AE40-AA3C-0ED9B88D512C}" type="presOf" srcId="{107C1FB9-EC4D-674E-996D-FEC8E24BF965}" destId="{7EE8B34D-5CF8-E94F-BE47-99AD1DCA088B}" srcOrd="0" destOrd="0" presId="urn:microsoft.com/office/officeart/2005/8/layout/gear1"/>
    <dgm:cxn modelId="{163B10D3-8252-704D-97D7-94FA312379D6}" type="presParOf" srcId="{E5D1891D-A2A2-004E-AAC2-50E1E2CAA6F5}" destId="{7EE8B34D-5CF8-E94F-BE47-99AD1DCA088B}" srcOrd="0" destOrd="0" presId="urn:microsoft.com/office/officeart/2005/8/layout/gear1"/>
    <dgm:cxn modelId="{D064D2F9-A265-C941-B990-06A7DC2A5614}" type="presParOf" srcId="{E5D1891D-A2A2-004E-AAC2-50E1E2CAA6F5}" destId="{47C2BACD-71A6-1442-A878-25283821BDA7}" srcOrd="1" destOrd="0" presId="urn:microsoft.com/office/officeart/2005/8/layout/gear1"/>
    <dgm:cxn modelId="{689640CC-1B67-BB4F-9D5D-B1B316365E0D}" type="presParOf" srcId="{E5D1891D-A2A2-004E-AAC2-50E1E2CAA6F5}" destId="{764525E3-5395-1643-A7BA-4FC5FBA7E2AC}" srcOrd="2" destOrd="0" presId="urn:microsoft.com/office/officeart/2005/8/layout/gear1"/>
    <dgm:cxn modelId="{D1B71822-BC78-0640-8872-45E4991D4311}" type="presParOf" srcId="{E5D1891D-A2A2-004E-AAC2-50E1E2CAA6F5}" destId="{2081A57D-2438-1648-9B90-A42197A77A4A}" srcOrd="3" destOrd="0" presId="urn:microsoft.com/office/officeart/2005/8/layout/gear1"/>
    <dgm:cxn modelId="{E06E9EAB-9252-EF45-811D-56197355F403}" type="presParOf" srcId="{E5D1891D-A2A2-004E-AAC2-50E1E2CAA6F5}" destId="{867A9BF8-6AF6-564B-805B-606E5DC85240}" srcOrd="4" destOrd="0" presId="urn:microsoft.com/office/officeart/2005/8/layout/gear1"/>
    <dgm:cxn modelId="{A2584CC6-28E5-DD4B-AFCE-7CB79347AB9B}" type="presParOf" srcId="{E5D1891D-A2A2-004E-AAC2-50E1E2CAA6F5}" destId="{37C96DC4-601D-F346-A8FE-8ECF985F54EF}" srcOrd="5" destOrd="0" presId="urn:microsoft.com/office/officeart/2005/8/layout/gear1"/>
    <dgm:cxn modelId="{C0A9E311-1163-7140-A6AC-FB2395B1C527}" type="presParOf" srcId="{E5D1891D-A2A2-004E-AAC2-50E1E2CAA6F5}" destId="{C8AA5FFF-A34F-6541-91E9-45706365FA2F}" srcOrd="6" destOrd="0" presId="urn:microsoft.com/office/officeart/2005/8/layout/gear1"/>
    <dgm:cxn modelId="{A91F8E36-167D-2442-9A6E-77B151BF6FB8}" type="presParOf" srcId="{E5D1891D-A2A2-004E-AAC2-50E1E2CAA6F5}" destId="{79D6FCC8-F9CF-A14A-8C3A-BE8F5F76BD9B}" srcOrd="7" destOrd="0" presId="urn:microsoft.com/office/officeart/2005/8/layout/gear1"/>
    <dgm:cxn modelId="{478031A9-285B-C146-A49F-FA8590E4C08B}" type="presParOf" srcId="{E5D1891D-A2A2-004E-AAC2-50E1E2CAA6F5}" destId="{1F8D034C-8141-6C44-909B-F21E42017950}" srcOrd="8" destOrd="0" presId="urn:microsoft.com/office/officeart/2005/8/layout/gear1"/>
    <dgm:cxn modelId="{8B14F63A-073E-494E-B95E-A0B758805B31}" type="presParOf" srcId="{E5D1891D-A2A2-004E-AAC2-50E1E2CAA6F5}" destId="{730DA0F4-B071-0346-A6AF-FF8BC87A78A7}" srcOrd="9" destOrd="0" presId="urn:microsoft.com/office/officeart/2005/8/layout/gear1"/>
    <dgm:cxn modelId="{407E523F-0725-B04C-A069-64AF330763D5}" type="presParOf" srcId="{E5D1891D-A2A2-004E-AAC2-50E1E2CAA6F5}" destId="{F7EC1DD9-EC7C-D148-BD35-24D902967CFF}" srcOrd="10" destOrd="0" presId="urn:microsoft.com/office/officeart/2005/8/layout/gear1"/>
    <dgm:cxn modelId="{C7D53191-C392-0043-8D0C-0042F2A83C7E}" type="presParOf" srcId="{E5D1891D-A2A2-004E-AAC2-50E1E2CAA6F5}" destId="{1A7B9866-12CE-2841-B9B6-45F68FE75617}" srcOrd="11" destOrd="0" presId="urn:microsoft.com/office/officeart/2005/8/layout/gear1"/>
    <dgm:cxn modelId="{89D1D816-FD02-0242-A66C-A47AB98DF139}" type="presParOf" srcId="{E5D1891D-A2A2-004E-AAC2-50E1E2CAA6F5}" destId="{F3AB88E3-0258-474B-940B-4CD08CD0D73B}" srcOrd="12" destOrd="0" presId="urn:microsoft.com/office/officeart/2005/8/layout/gear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E8B34D-5CF8-E94F-BE47-99AD1DCA088B}">
      <dsp:nvSpPr>
        <dsp:cNvPr id="0" name=""/>
        <dsp:cNvSpPr/>
      </dsp:nvSpPr>
      <dsp:spPr>
        <a:xfrm>
          <a:off x="1825571" y="2506492"/>
          <a:ext cx="2231253" cy="2231253"/>
        </a:xfrm>
        <a:prstGeom prst="gear9">
          <a:avLst/>
        </a:prstGeom>
        <a:gradFill rotWithShape="0">
          <a:gsLst>
            <a:gs pos="0">
              <a:schemeClr val="accent1">
                <a:alpha val="90000"/>
                <a:hueOff val="0"/>
                <a:satOff val="0"/>
                <a:lumOff val="0"/>
                <a:alphaOff val="0"/>
                <a:lumMod val="110000"/>
                <a:satMod val="105000"/>
                <a:tint val="67000"/>
              </a:schemeClr>
            </a:gs>
            <a:gs pos="50000">
              <a:schemeClr val="accent1">
                <a:alpha val="90000"/>
                <a:hueOff val="0"/>
                <a:satOff val="0"/>
                <a:lumOff val="0"/>
                <a:alphaOff val="0"/>
                <a:lumMod val="105000"/>
                <a:satMod val="103000"/>
                <a:tint val="73000"/>
              </a:schemeClr>
            </a:gs>
            <a:gs pos="100000">
              <a:schemeClr val="accent1">
                <a:alpha val="90000"/>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400" kern="1200" dirty="0">
              <a:solidFill>
                <a:schemeClr val="bg1"/>
              </a:solidFill>
            </a:rPr>
            <a:t>REGULATIONS</a:t>
          </a:r>
          <a:endParaRPr lang="en-GB" sz="1000" kern="1200" dirty="0">
            <a:solidFill>
              <a:schemeClr val="bg1"/>
            </a:solidFill>
          </a:endParaRPr>
        </a:p>
      </dsp:txBody>
      <dsp:txXfrm>
        <a:off x="2274152" y="3029152"/>
        <a:ext cx="1334091" cy="1146910"/>
      </dsp:txXfrm>
    </dsp:sp>
    <dsp:sp modelId="{2081A57D-2438-1648-9B90-A42197A77A4A}">
      <dsp:nvSpPr>
        <dsp:cNvPr id="0" name=""/>
        <dsp:cNvSpPr/>
      </dsp:nvSpPr>
      <dsp:spPr>
        <a:xfrm>
          <a:off x="527387" y="1979105"/>
          <a:ext cx="1622730" cy="1622730"/>
        </a:xfrm>
        <a:prstGeom prst="gear6">
          <a:avLst/>
        </a:prstGeom>
        <a:gradFill rotWithShape="0">
          <a:gsLst>
            <a:gs pos="0">
              <a:schemeClr val="accent1">
                <a:alpha val="90000"/>
                <a:hueOff val="0"/>
                <a:satOff val="0"/>
                <a:lumOff val="0"/>
                <a:alphaOff val="-20000"/>
                <a:lumMod val="110000"/>
                <a:satMod val="105000"/>
                <a:tint val="67000"/>
              </a:schemeClr>
            </a:gs>
            <a:gs pos="50000">
              <a:schemeClr val="accent1">
                <a:alpha val="90000"/>
                <a:hueOff val="0"/>
                <a:satOff val="0"/>
                <a:lumOff val="0"/>
                <a:alphaOff val="-20000"/>
                <a:lumMod val="105000"/>
                <a:satMod val="103000"/>
                <a:tint val="73000"/>
              </a:schemeClr>
            </a:gs>
            <a:gs pos="100000">
              <a:schemeClr val="accent1">
                <a:alpha val="90000"/>
                <a:hueOff val="0"/>
                <a:satOff val="0"/>
                <a:lumOff val="0"/>
                <a:alphaOff val="-20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GB" sz="1000" kern="1200" dirty="0">
              <a:solidFill>
                <a:schemeClr val="bg1"/>
              </a:solidFill>
            </a:rPr>
            <a:t>FRAMEWORKS</a:t>
          </a:r>
        </a:p>
      </dsp:txBody>
      <dsp:txXfrm>
        <a:off x="935914" y="2390101"/>
        <a:ext cx="805676" cy="800738"/>
      </dsp:txXfrm>
    </dsp:sp>
    <dsp:sp modelId="{C8AA5FFF-A34F-6541-91E9-45706365FA2F}">
      <dsp:nvSpPr>
        <dsp:cNvPr id="0" name=""/>
        <dsp:cNvSpPr/>
      </dsp:nvSpPr>
      <dsp:spPr>
        <a:xfrm rot="20700000">
          <a:off x="1436281" y="859586"/>
          <a:ext cx="1589944" cy="1589944"/>
        </a:xfrm>
        <a:prstGeom prst="gear6">
          <a:avLst/>
        </a:prstGeom>
        <a:gradFill rotWithShape="0">
          <a:gsLst>
            <a:gs pos="0">
              <a:schemeClr val="accent1">
                <a:alpha val="90000"/>
                <a:hueOff val="0"/>
                <a:satOff val="0"/>
                <a:lumOff val="0"/>
                <a:alphaOff val="-40000"/>
                <a:lumMod val="110000"/>
                <a:satMod val="105000"/>
                <a:tint val="67000"/>
              </a:schemeClr>
            </a:gs>
            <a:gs pos="50000">
              <a:schemeClr val="accent1">
                <a:alpha val="90000"/>
                <a:hueOff val="0"/>
                <a:satOff val="0"/>
                <a:lumOff val="0"/>
                <a:alphaOff val="-40000"/>
                <a:lumMod val="105000"/>
                <a:satMod val="103000"/>
                <a:tint val="73000"/>
              </a:schemeClr>
            </a:gs>
            <a:gs pos="100000">
              <a:schemeClr val="accent1">
                <a:alpha val="90000"/>
                <a:hueOff val="0"/>
                <a:satOff val="0"/>
                <a:lumOff val="0"/>
                <a:alphaOff val="-4000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GB" sz="1000" kern="1200" dirty="0">
              <a:solidFill>
                <a:schemeClr val="bg1"/>
              </a:solidFill>
            </a:rPr>
            <a:t>BEST PRACTICES</a:t>
          </a:r>
        </a:p>
      </dsp:txBody>
      <dsp:txXfrm rot="-20700000">
        <a:off x="1785003" y="1208308"/>
        <a:ext cx="892501" cy="892501"/>
      </dsp:txXfrm>
    </dsp:sp>
    <dsp:sp modelId="{F7EC1DD9-EC7C-D148-BD35-24D902967CFF}">
      <dsp:nvSpPr>
        <dsp:cNvPr id="0" name=""/>
        <dsp:cNvSpPr/>
      </dsp:nvSpPr>
      <dsp:spPr>
        <a:xfrm>
          <a:off x="1652502" y="2170652"/>
          <a:ext cx="2856004" cy="2856004"/>
        </a:xfrm>
        <a:prstGeom prst="circularArrow">
          <a:avLst>
            <a:gd name="adj1" fmla="val 4687"/>
            <a:gd name="adj2" fmla="val 299029"/>
            <a:gd name="adj3" fmla="val 2512904"/>
            <a:gd name="adj4" fmla="val 15868321"/>
            <a:gd name="adj5" fmla="val 5469"/>
          </a:avLst>
        </a:prstGeom>
        <a:gradFill rotWithShape="0">
          <a:gsLst>
            <a:gs pos="0">
              <a:schemeClr val="accent1">
                <a:shade val="90000"/>
                <a:hueOff val="0"/>
                <a:satOff val="0"/>
                <a:lumOff val="0"/>
                <a:alphaOff val="0"/>
                <a:lumMod val="110000"/>
                <a:satMod val="105000"/>
                <a:tint val="67000"/>
              </a:schemeClr>
            </a:gs>
            <a:gs pos="50000">
              <a:schemeClr val="accent1">
                <a:shade val="90000"/>
                <a:hueOff val="0"/>
                <a:satOff val="0"/>
                <a:lumOff val="0"/>
                <a:alphaOff val="0"/>
                <a:lumMod val="105000"/>
                <a:satMod val="103000"/>
                <a:tint val="73000"/>
              </a:schemeClr>
            </a:gs>
            <a:gs pos="100000">
              <a:schemeClr val="accent1">
                <a:shade val="9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1A7B9866-12CE-2841-B9B6-45F68FE75617}">
      <dsp:nvSpPr>
        <dsp:cNvPr id="0" name=""/>
        <dsp:cNvSpPr/>
      </dsp:nvSpPr>
      <dsp:spPr>
        <a:xfrm>
          <a:off x="240004" y="1620646"/>
          <a:ext cx="2075065" cy="2075065"/>
        </a:xfrm>
        <a:prstGeom prst="leftCircularArrow">
          <a:avLst>
            <a:gd name="adj1" fmla="val 6452"/>
            <a:gd name="adj2" fmla="val 429999"/>
            <a:gd name="adj3" fmla="val 10489124"/>
            <a:gd name="adj4" fmla="val 14837806"/>
            <a:gd name="adj5" fmla="val 7527"/>
          </a:avLst>
        </a:prstGeom>
        <a:gradFill rotWithShape="0">
          <a:gsLst>
            <a:gs pos="0">
              <a:schemeClr val="accent1">
                <a:shade val="90000"/>
                <a:hueOff val="207713"/>
                <a:satOff val="-4436"/>
                <a:lumOff val="16555"/>
                <a:alphaOff val="0"/>
                <a:lumMod val="110000"/>
                <a:satMod val="105000"/>
                <a:tint val="67000"/>
              </a:schemeClr>
            </a:gs>
            <a:gs pos="50000">
              <a:schemeClr val="accent1">
                <a:shade val="90000"/>
                <a:hueOff val="207713"/>
                <a:satOff val="-4436"/>
                <a:lumOff val="16555"/>
                <a:alphaOff val="0"/>
                <a:lumMod val="105000"/>
                <a:satMod val="103000"/>
                <a:tint val="73000"/>
              </a:schemeClr>
            </a:gs>
            <a:gs pos="100000">
              <a:schemeClr val="accent1">
                <a:shade val="90000"/>
                <a:hueOff val="207713"/>
                <a:satOff val="-4436"/>
                <a:lumOff val="16555"/>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 modelId="{F3AB88E3-0258-474B-940B-4CD08CD0D73B}">
      <dsp:nvSpPr>
        <dsp:cNvPr id="0" name=""/>
        <dsp:cNvSpPr/>
      </dsp:nvSpPr>
      <dsp:spPr>
        <a:xfrm>
          <a:off x="1068511" y="511919"/>
          <a:ext cx="2237338" cy="2237338"/>
        </a:xfrm>
        <a:prstGeom prst="circularArrow">
          <a:avLst>
            <a:gd name="adj1" fmla="val 5984"/>
            <a:gd name="adj2" fmla="val 394124"/>
            <a:gd name="adj3" fmla="val 13313824"/>
            <a:gd name="adj4" fmla="val 10508221"/>
            <a:gd name="adj5" fmla="val 6981"/>
          </a:avLst>
        </a:prstGeom>
        <a:gradFill rotWithShape="0">
          <a:gsLst>
            <a:gs pos="0">
              <a:schemeClr val="accent1">
                <a:shade val="90000"/>
                <a:hueOff val="415426"/>
                <a:satOff val="-8871"/>
                <a:lumOff val="33109"/>
                <a:alphaOff val="0"/>
                <a:lumMod val="110000"/>
                <a:satMod val="105000"/>
                <a:tint val="67000"/>
              </a:schemeClr>
            </a:gs>
            <a:gs pos="50000">
              <a:schemeClr val="accent1">
                <a:shade val="90000"/>
                <a:hueOff val="415426"/>
                <a:satOff val="-8871"/>
                <a:lumOff val="33109"/>
                <a:alphaOff val="0"/>
                <a:lumMod val="105000"/>
                <a:satMod val="103000"/>
                <a:tint val="73000"/>
              </a:schemeClr>
            </a:gs>
            <a:gs pos="100000">
              <a:schemeClr val="accent1">
                <a:shade val="90000"/>
                <a:hueOff val="415426"/>
                <a:satOff val="-8871"/>
                <a:lumOff val="33109"/>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245B39-E658-004B-8E15-DA1FFE260D79}" type="datetimeFigureOut">
              <a:rPr lang="en-BE" smtClean="0"/>
              <a:t>25/03/2024</a:t>
            </a:fld>
            <a:endParaRPr lang="en-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6E8080-63FB-DD40-B20A-E70DC993E68C}" type="slidenum">
              <a:rPr lang="en-BE" smtClean="0"/>
              <a:t>‹#›</a:t>
            </a:fld>
            <a:endParaRPr lang="en-BE"/>
          </a:p>
        </p:txBody>
      </p:sp>
    </p:spTree>
    <p:extLst>
      <p:ext uri="{BB962C8B-B14F-4D97-AF65-F5344CB8AC3E}">
        <p14:creationId xmlns:p14="http://schemas.microsoft.com/office/powerpoint/2010/main" val="2508768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A66E8080-63FB-DD40-B20A-E70DC993E68C}" type="slidenum">
              <a:rPr lang="en-BE" smtClean="0"/>
              <a:t>2</a:t>
            </a:fld>
            <a:endParaRPr lang="en-BE"/>
          </a:p>
        </p:txBody>
      </p:sp>
    </p:spTree>
    <p:extLst>
      <p:ext uri="{BB962C8B-B14F-4D97-AF65-F5344CB8AC3E}">
        <p14:creationId xmlns:p14="http://schemas.microsoft.com/office/powerpoint/2010/main" val="3647035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AT" dirty="0">
                <a:cs typeface="Calibri"/>
              </a:rPr>
              <a:t>UK: </a:t>
            </a:r>
            <a:r>
              <a:rPr lang="de-AT" dirty="0"/>
              <a:t>NO </a:t>
            </a:r>
            <a:r>
              <a:rPr lang="de-AT" dirty="0" err="1"/>
              <a:t>direct</a:t>
            </a:r>
            <a:r>
              <a:rPr lang="de-AT" dirty="0"/>
              <a:t> AI </a:t>
            </a:r>
            <a:r>
              <a:rPr lang="de-AT" dirty="0" err="1"/>
              <a:t>regulation</a:t>
            </a:r>
            <a:endParaRPr lang="de-AT" dirty="0">
              <a:cs typeface="Calibri"/>
            </a:endParaRPr>
          </a:p>
          <a:p>
            <a:r>
              <a:rPr lang="de-AT" dirty="0"/>
              <a:t>General AI Framework </a:t>
            </a:r>
            <a:r>
              <a:rPr lang="de-AT" dirty="0" err="1"/>
              <a:t>for</a:t>
            </a:r>
            <a:r>
              <a:rPr lang="de-AT" dirty="0"/>
              <a:t> HMG (18th </a:t>
            </a:r>
            <a:r>
              <a:rPr lang="de-AT" dirty="0" err="1"/>
              <a:t>of</a:t>
            </a:r>
            <a:r>
              <a:rPr lang="de-AT" dirty="0"/>
              <a:t> </a:t>
            </a:r>
            <a:r>
              <a:rPr lang="de-AT" dirty="0" err="1"/>
              <a:t>January</a:t>
            </a:r>
            <a:r>
              <a:rPr lang="de-AT" dirty="0"/>
              <a:t> 2024)</a:t>
            </a:r>
            <a:endParaRPr lang="de-AT" dirty="0">
              <a:cs typeface="Calibri"/>
            </a:endParaRPr>
          </a:p>
          <a:p>
            <a:r>
              <a:rPr lang="de-AT" dirty="0"/>
              <a:t>Regulation </a:t>
            </a:r>
            <a:r>
              <a:rPr lang="de-AT" dirty="0" err="1"/>
              <a:t>by</a:t>
            </a:r>
            <a:r>
              <a:rPr lang="de-AT" dirty="0"/>
              <a:t> </a:t>
            </a:r>
            <a:r>
              <a:rPr lang="de-AT" dirty="0" err="1"/>
              <a:t>sector</a:t>
            </a:r>
            <a:r>
              <a:rPr lang="de-AT" dirty="0"/>
              <a:t>, </a:t>
            </a:r>
            <a:r>
              <a:rPr lang="de-AT" dirty="0" err="1"/>
              <a:t>the</a:t>
            </a:r>
            <a:r>
              <a:rPr lang="de-AT" dirty="0"/>
              <a:t> UK </a:t>
            </a:r>
            <a:r>
              <a:rPr lang="de-AT" dirty="0" err="1"/>
              <a:t>relies</a:t>
            </a:r>
            <a:r>
              <a:rPr lang="de-AT" dirty="0"/>
              <a:t> on </a:t>
            </a:r>
            <a:r>
              <a:rPr lang="de-AT" dirty="0" err="1"/>
              <a:t>existing</a:t>
            </a:r>
            <a:r>
              <a:rPr lang="de-AT" dirty="0"/>
              <a:t> </a:t>
            </a:r>
            <a:r>
              <a:rPr lang="de-AT" dirty="0" err="1"/>
              <a:t>regulators</a:t>
            </a:r>
            <a:r>
              <a:rPr lang="de-AT" dirty="0"/>
              <a:t>.</a:t>
            </a:r>
            <a:endParaRPr lang="de-AT" dirty="0">
              <a:cs typeface="Calibri"/>
            </a:endParaRPr>
          </a:p>
          <a:p>
            <a:r>
              <a:rPr lang="de-AT" dirty="0"/>
              <a:t>Establishment </a:t>
            </a:r>
            <a:r>
              <a:rPr lang="de-AT" dirty="0" err="1"/>
              <a:t>of</a:t>
            </a:r>
            <a:r>
              <a:rPr lang="de-AT" dirty="0"/>
              <a:t> </a:t>
            </a:r>
            <a:r>
              <a:rPr lang="de-AT" dirty="0" err="1"/>
              <a:t>the</a:t>
            </a:r>
            <a:r>
              <a:rPr lang="de-AT" dirty="0"/>
              <a:t> UK AI </a:t>
            </a:r>
            <a:r>
              <a:rPr lang="de-AT" dirty="0" err="1"/>
              <a:t>Safety</a:t>
            </a:r>
            <a:r>
              <a:rPr lang="de-AT" dirty="0"/>
              <a:t> Institute</a:t>
            </a:r>
            <a:endParaRPr lang="de-AT" dirty="0">
              <a:cs typeface="Calibri"/>
            </a:endParaRPr>
          </a:p>
          <a:p>
            <a:endParaRPr lang="en-IE" dirty="0"/>
          </a:p>
        </p:txBody>
      </p:sp>
      <p:sp>
        <p:nvSpPr>
          <p:cNvPr id="4" name="Slide Number Placeholder 3"/>
          <p:cNvSpPr>
            <a:spLocks noGrp="1"/>
          </p:cNvSpPr>
          <p:nvPr>
            <p:ph type="sldNum" sz="quarter" idx="5"/>
          </p:nvPr>
        </p:nvSpPr>
        <p:spPr/>
        <p:txBody>
          <a:bodyPr/>
          <a:lstStyle/>
          <a:p>
            <a:fld id="{A66E8080-63FB-DD40-B20A-E70DC993E68C}" type="slidenum">
              <a:rPr lang="en-BE" smtClean="0"/>
              <a:t>6</a:t>
            </a:fld>
            <a:endParaRPr lang="en-BE"/>
          </a:p>
        </p:txBody>
      </p:sp>
    </p:spTree>
    <p:extLst>
      <p:ext uri="{BB962C8B-B14F-4D97-AF65-F5344CB8AC3E}">
        <p14:creationId xmlns:p14="http://schemas.microsoft.com/office/powerpoint/2010/main" val="1856233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a typeface="Calibri"/>
                <a:cs typeface="Calibri"/>
              </a:rPr>
              <a:t>USA:</a:t>
            </a:r>
          </a:p>
          <a:p>
            <a:pPr algn="l">
              <a:buFont typeface="Arial" panose="020B0604020202020204" pitchFamily="34" charset="0"/>
              <a:buChar char="•"/>
            </a:pPr>
            <a:r>
              <a:rPr lang="en-US" b="0" i="0" dirty="0">
                <a:solidFill>
                  <a:srgbClr val="000000"/>
                </a:solidFill>
                <a:effectLst/>
                <a:latin typeface="Arial" panose="020B0604020202020204" pitchFamily="34" charset="0"/>
              </a:rPr>
              <a:t>Various federal laws, bills, executive orders and frameworks on AI have been passed or proposed on a range of matters (from strategic or administrative initiatives to regulation of specific AI issues or applications such as deepfakes and foundation models). A key landmark development was Executive Order 14110 (Nov 2023) which established a comprehensive suite of regulatory, economic and strategic initiatives in AI</a:t>
            </a:r>
          </a:p>
          <a:p>
            <a:pPr algn="l">
              <a:buFont typeface="Arial" panose="020B0604020202020204" pitchFamily="34" charset="0"/>
              <a:buChar char="•"/>
            </a:pPr>
            <a:r>
              <a:rPr lang="en-US" b="0" i="0" dirty="0">
                <a:solidFill>
                  <a:srgbClr val="000000"/>
                </a:solidFill>
                <a:effectLst/>
                <a:latin typeface="Arial" panose="020B0604020202020204" pitchFamily="34" charset="0"/>
              </a:rPr>
              <a:t> Some US states have direct AI regulation, with the top 3 states (in terms of number of AI-related bills passed in 2016-2022) being Maryland, California and Massachusetts.</a:t>
            </a:r>
          </a:p>
          <a:p>
            <a:endParaRPr lang="en-US" dirty="0"/>
          </a:p>
          <a:p>
            <a:r>
              <a:rPr lang="en-US" dirty="0"/>
              <a:t>•AI Executive Order 14110: Presidential Executive Order on AI (30.10.2023) and 29th of January 2024 completed actions already announced.</a:t>
            </a:r>
            <a:endParaRPr lang="en-US" dirty="0">
              <a:ea typeface="Calibri"/>
              <a:cs typeface="Calibri"/>
            </a:endParaRPr>
          </a:p>
          <a:p>
            <a:r>
              <a:rPr lang="en-US" dirty="0"/>
              <a:t>•AI Foundation Model Transparency Act (12.2023)</a:t>
            </a:r>
            <a:endParaRPr lang="en-US" dirty="0">
              <a:ea typeface="Calibri"/>
              <a:cs typeface="Calibri"/>
            </a:endParaRPr>
          </a:p>
          <a:p>
            <a:r>
              <a:rPr lang="en-US" dirty="0"/>
              <a:t>•AI Safety Summit (11. 2023)</a:t>
            </a:r>
            <a:endParaRPr lang="en-US" dirty="0">
              <a:ea typeface="Calibri"/>
              <a:cs typeface="Calibri"/>
            </a:endParaRPr>
          </a:p>
          <a:p>
            <a:r>
              <a:rPr lang="en-US" dirty="0"/>
              <a:t>•Draft blueprint for an US AI Act (Blumenthal-Hawley proposal); Draft discussion bill “No fakes Act”</a:t>
            </a:r>
            <a:endParaRPr lang="en-US" dirty="0">
              <a:ea typeface="Calibri"/>
              <a:cs typeface="Calibri"/>
            </a:endParaRPr>
          </a:p>
          <a:p>
            <a:r>
              <a:rPr lang="en-US" dirty="0"/>
              <a:t>•Direct AI regulation in some U.S. states..... </a:t>
            </a:r>
            <a:r>
              <a:rPr lang="en-US" dirty="0" err="1"/>
              <a:t>etc</a:t>
            </a:r>
            <a:endParaRPr lang="en-US" dirty="0">
              <a:ea typeface="Calibri"/>
              <a:cs typeface="Calibri"/>
            </a:endParaRPr>
          </a:p>
          <a:p>
            <a:endParaRPr lang="en-IE" dirty="0"/>
          </a:p>
        </p:txBody>
      </p:sp>
      <p:sp>
        <p:nvSpPr>
          <p:cNvPr id="4" name="Slide Number Placeholder 3"/>
          <p:cNvSpPr>
            <a:spLocks noGrp="1"/>
          </p:cNvSpPr>
          <p:nvPr>
            <p:ph type="sldNum" sz="quarter" idx="5"/>
          </p:nvPr>
        </p:nvSpPr>
        <p:spPr/>
        <p:txBody>
          <a:bodyPr/>
          <a:lstStyle/>
          <a:p>
            <a:fld id="{A66E8080-63FB-DD40-B20A-E70DC993E68C}" type="slidenum">
              <a:rPr lang="en-BE" smtClean="0"/>
              <a:t>7</a:t>
            </a:fld>
            <a:endParaRPr lang="en-BE"/>
          </a:p>
        </p:txBody>
      </p:sp>
    </p:spTree>
    <p:extLst>
      <p:ext uri="{BB962C8B-B14F-4D97-AF65-F5344CB8AC3E}">
        <p14:creationId xmlns:p14="http://schemas.microsoft.com/office/powerpoint/2010/main" val="3064671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 **High-risk AI systems**:</a:t>
            </a:r>
          </a:p>
          <a:p>
            <a:r>
              <a:rPr lang="en-IE" dirty="0"/>
              <a:t>  - Covered under Article 6(2).</a:t>
            </a:r>
          </a:p>
          <a:p>
            <a:r>
              <a:rPr lang="en-IE" dirty="0"/>
              <a:t>  - Includes various areas such as biometrics, critical infrastructure, education, employment, access to essential services, law enforcement, migration/asylum/border control management, and administration of justice/democratic processes.</a:t>
            </a:r>
          </a:p>
          <a:p>
            <a:r>
              <a:rPr lang="en-IE" dirty="0"/>
              <a:t>  </a:t>
            </a:r>
          </a:p>
          <a:p>
            <a:r>
              <a:rPr lang="en-IE" dirty="0"/>
              <a:t>- **Biometrics**:</a:t>
            </a:r>
          </a:p>
          <a:p>
            <a:r>
              <a:rPr lang="en-IE" dirty="0"/>
              <a:t>  - Includes remote biometric identification systems.</a:t>
            </a:r>
          </a:p>
          <a:p>
            <a:r>
              <a:rPr lang="en-IE" dirty="0"/>
              <a:t>  - Excludes systems solely for biometric verification.</a:t>
            </a:r>
          </a:p>
          <a:p>
            <a:r>
              <a:rPr lang="en-IE" dirty="0"/>
              <a:t>  - Also covers AI systems for biometric categorization and emotion recognition.</a:t>
            </a:r>
          </a:p>
          <a:p>
            <a:r>
              <a:rPr lang="en-IE" dirty="0"/>
              <a:t>  </a:t>
            </a:r>
          </a:p>
          <a:p>
            <a:r>
              <a:rPr lang="en-IE" dirty="0"/>
              <a:t>- **Critical Infrastructure**:</a:t>
            </a:r>
          </a:p>
          <a:p>
            <a:r>
              <a:rPr lang="en-IE" dirty="0"/>
              <a:t>  - Involves AI systems for safety in managing critical digital infrastructure, road traffic, and supply of utilities like water, gas, heating, or electricity.</a:t>
            </a:r>
          </a:p>
          <a:p>
            <a:r>
              <a:rPr lang="en-IE" dirty="0"/>
              <a:t>  </a:t>
            </a:r>
          </a:p>
          <a:p>
            <a:r>
              <a:rPr lang="en-IE" dirty="0"/>
              <a:t>- **Education and Vocational Training**:</a:t>
            </a:r>
          </a:p>
          <a:p>
            <a:r>
              <a:rPr lang="en-IE" dirty="0"/>
              <a:t>  - Covers AI systems for access, admission, and evaluation in educational institutions.</a:t>
            </a:r>
          </a:p>
          <a:p>
            <a:r>
              <a:rPr lang="en-IE" dirty="0"/>
              <a:t>  - Also includes systems for assessing education levels and monitoring prohibited </a:t>
            </a:r>
            <a:r>
              <a:rPr lang="en-IE" dirty="0" err="1"/>
              <a:t>behavior</a:t>
            </a:r>
            <a:r>
              <a:rPr lang="en-IE" dirty="0"/>
              <a:t> during tests.</a:t>
            </a:r>
          </a:p>
          <a:p>
            <a:r>
              <a:rPr lang="en-IE" dirty="0"/>
              <a:t>  </a:t>
            </a:r>
          </a:p>
          <a:p>
            <a:r>
              <a:rPr lang="en-IE" dirty="0"/>
              <a:t>- **Employment and Workers Management**:</a:t>
            </a:r>
          </a:p>
          <a:p>
            <a:r>
              <a:rPr lang="en-IE" dirty="0"/>
              <a:t>  - Encompasses AI systems for recruitment, selection, and decision-making in work-related relationships.</a:t>
            </a:r>
          </a:p>
          <a:p>
            <a:r>
              <a:rPr lang="en-IE" dirty="0"/>
              <a:t>  - Also includes task allocation, performance evaluation, and </a:t>
            </a:r>
            <a:r>
              <a:rPr lang="en-IE" dirty="0" err="1"/>
              <a:t>behavior</a:t>
            </a:r>
            <a:r>
              <a:rPr lang="en-IE" dirty="0"/>
              <a:t> monitoring.</a:t>
            </a:r>
          </a:p>
          <a:p>
            <a:r>
              <a:rPr lang="en-IE" dirty="0"/>
              <a:t>  </a:t>
            </a:r>
          </a:p>
          <a:p>
            <a:r>
              <a:rPr lang="en-IE" dirty="0"/>
              <a:t>- **Access to Essential Services**:</a:t>
            </a:r>
          </a:p>
          <a:p>
            <a:r>
              <a:rPr lang="en-IE" dirty="0"/>
              <a:t>  - Includes AI systems used by public authorities to evaluate eligibility for essential public assistance benefits and services.</a:t>
            </a:r>
          </a:p>
          <a:p>
            <a:r>
              <a:rPr lang="en-IE" dirty="0"/>
              <a:t>  - Also covers creditworthiness assessment, risk assessment for insurance, emergency call classification, and dispatching services.</a:t>
            </a:r>
          </a:p>
          <a:p>
            <a:r>
              <a:rPr lang="en-IE" dirty="0"/>
              <a:t>  </a:t>
            </a:r>
          </a:p>
          <a:p>
            <a:r>
              <a:rPr lang="en-IE" dirty="0"/>
              <a:t>- **Law Enforcement**:</a:t>
            </a:r>
          </a:p>
          <a:p>
            <a:r>
              <a:rPr lang="en-IE" dirty="0"/>
              <a:t>  - Covers AI systems for assessing risk of becoming victims, polygraphs, evidence reliability evaluation, predicting offending </a:t>
            </a:r>
            <a:r>
              <a:rPr lang="en-IE" dirty="0" err="1"/>
              <a:t>behavior</a:t>
            </a:r>
            <a:r>
              <a:rPr lang="en-IE" dirty="0"/>
              <a:t>, and profiling in criminal investigations.</a:t>
            </a:r>
          </a:p>
          <a:p>
            <a:r>
              <a:rPr lang="en-IE" dirty="0"/>
              <a:t>  </a:t>
            </a:r>
          </a:p>
          <a:p>
            <a:r>
              <a:rPr lang="en-IE" dirty="0"/>
              <a:t>- **Migration, Asylum, and Border Control Management**:</a:t>
            </a:r>
          </a:p>
          <a:p>
            <a:r>
              <a:rPr lang="en-IE" dirty="0"/>
              <a:t>  - Includes AI systems for assessing risks related to entry into Member States, assisting in processing applications for asylum, visas, or residence permits, and detecting or identifying natural persons.</a:t>
            </a:r>
          </a:p>
          <a:p>
            <a:r>
              <a:rPr lang="en-IE" dirty="0"/>
              <a:t>  </a:t>
            </a:r>
          </a:p>
          <a:p>
            <a:r>
              <a:rPr lang="en-IE" dirty="0"/>
              <a:t>- **Administration of Justice and Democratic Processes**:</a:t>
            </a:r>
          </a:p>
          <a:p>
            <a:r>
              <a:rPr lang="en-IE" dirty="0"/>
              <a:t>  - Involves AI systems for assisting judicial authorities in researching, interpreting facts and law, and applying the law.</a:t>
            </a:r>
          </a:p>
          <a:p>
            <a:r>
              <a:rPr lang="en-IE" dirty="0"/>
              <a:t>  - Also covers AI systems influencing election outcomes or voting </a:t>
            </a:r>
            <a:r>
              <a:rPr lang="en-IE" dirty="0" err="1"/>
              <a:t>behavior</a:t>
            </a:r>
            <a:r>
              <a:rPr lang="en-IE" dirty="0"/>
              <a:t>, excluding administrative/political campaign optimization tools.</a:t>
            </a:r>
          </a:p>
        </p:txBody>
      </p:sp>
      <p:sp>
        <p:nvSpPr>
          <p:cNvPr id="4" name="Slide Number Placeholder 3"/>
          <p:cNvSpPr>
            <a:spLocks noGrp="1"/>
          </p:cNvSpPr>
          <p:nvPr>
            <p:ph type="sldNum" sz="quarter" idx="5"/>
          </p:nvPr>
        </p:nvSpPr>
        <p:spPr/>
        <p:txBody>
          <a:bodyPr/>
          <a:lstStyle/>
          <a:p>
            <a:fld id="{A66E8080-63FB-DD40-B20A-E70DC993E68C}" type="slidenum">
              <a:rPr lang="en-BE" smtClean="0"/>
              <a:t>8</a:t>
            </a:fld>
            <a:endParaRPr lang="en-BE"/>
          </a:p>
        </p:txBody>
      </p:sp>
    </p:spTree>
    <p:extLst>
      <p:ext uri="{BB962C8B-B14F-4D97-AF65-F5344CB8AC3E}">
        <p14:creationId xmlns:p14="http://schemas.microsoft.com/office/powerpoint/2010/main" val="1746502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A66E8080-63FB-DD40-B20A-E70DC993E68C}" type="slidenum">
              <a:rPr lang="en-BE" smtClean="0"/>
              <a:t>15</a:t>
            </a:fld>
            <a:endParaRPr lang="en-BE"/>
          </a:p>
        </p:txBody>
      </p:sp>
    </p:spTree>
    <p:extLst>
      <p:ext uri="{BB962C8B-B14F-4D97-AF65-F5344CB8AC3E}">
        <p14:creationId xmlns:p14="http://schemas.microsoft.com/office/powerpoint/2010/main" val="15770682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fld id="{A66E8080-63FB-DD40-B20A-E70DC993E68C}" type="slidenum">
              <a:rPr lang="en-BE" smtClean="0"/>
              <a:t>16</a:t>
            </a:fld>
            <a:endParaRPr lang="en-BE"/>
          </a:p>
        </p:txBody>
      </p:sp>
    </p:spTree>
    <p:extLst>
      <p:ext uri="{BB962C8B-B14F-4D97-AF65-F5344CB8AC3E}">
        <p14:creationId xmlns:p14="http://schemas.microsoft.com/office/powerpoint/2010/main" val="1102598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To effectively use a GPT (Generative Pre-trained Transformer) model, you need a combination of technical skills and domain expertise. Here are the key skills required:</a:t>
            </a:r>
          </a:p>
          <a:p>
            <a:endParaRPr lang="en-IE" dirty="0"/>
          </a:p>
          <a:p>
            <a:r>
              <a:rPr lang="en-IE" dirty="0"/>
              <a:t>1. Understanding of Natural Language Processing (NLP): Familiarity with the basics of NLP, including tokenization, text normalization, and language </a:t>
            </a:r>
            <a:r>
              <a:rPr lang="en-IE" dirty="0" err="1"/>
              <a:t>modeling</a:t>
            </a:r>
            <a:r>
              <a:rPr lang="en-IE" dirty="0"/>
              <a:t>, is essential. You should understand concepts like word embeddings, attention mechanisms, and transformer architectures.</a:t>
            </a:r>
          </a:p>
          <a:p>
            <a:endParaRPr lang="en-IE" dirty="0"/>
          </a:p>
          <a:p>
            <a:r>
              <a:rPr lang="en-IE" dirty="0"/>
              <a:t>2. Python Programming: Proficiency in Python is crucial, as most GPT models and related libraries are implemented in Python. You should be comfortable writing code, manipulating text data, and working with popular NLP libraries such as TensorFlow or </a:t>
            </a:r>
            <a:r>
              <a:rPr lang="en-IE" dirty="0" err="1"/>
              <a:t>PyTorch</a:t>
            </a:r>
            <a:r>
              <a:rPr lang="en-IE" dirty="0"/>
              <a:t>.</a:t>
            </a:r>
          </a:p>
          <a:p>
            <a:endParaRPr lang="en-IE" dirty="0"/>
          </a:p>
          <a:p>
            <a:r>
              <a:rPr lang="en-IE" dirty="0"/>
              <a:t>3. Knowledge of Deep Learning: GPT models are based on deep learning techniques. Understanding the fundamentals of deep learning, including neural networks, backpropagation, and optimization algorithms, is important. Additionally, familiarity with deep learning libraries like TensorFlow or </a:t>
            </a:r>
            <a:r>
              <a:rPr lang="en-IE" dirty="0" err="1"/>
              <a:t>PyTorch</a:t>
            </a:r>
            <a:r>
              <a:rPr lang="en-IE" dirty="0"/>
              <a:t> is beneficial.</a:t>
            </a:r>
          </a:p>
          <a:p>
            <a:endParaRPr lang="en-IE" dirty="0"/>
          </a:p>
          <a:p>
            <a:r>
              <a:rPr lang="en-IE" dirty="0"/>
              <a:t>4. Data </a:t>
            </a:r>
            <a:r>
              <a:rPr lang="en-IE" dirty="0" err="1"/>
              <a:t>Preprocessing</a:t>
            </a:r>
            <a:r>
              <a:rPr lang="en-IE" dirty="0"/>
              <a:t>: GPT models require properly </a:t>
            </a:r>
            <a:r>
              <a:rPr lang="en-IE" dirty="0" err="1"/>
              <a:t>preprocessed</a:t>
            </a:r>
            <a:r>
              <a:rPr lang="en-IE" dirty="0"/>
              <a:t> data for optimal performance. You should be skilled in handling data </a:t>
            </a:r>
            <a:r>
              <a:rPr lang="en-IE" dirty="0" err="1"/>
              <a:t>preprocessing</a:t>
            </a:r>
            <a:r>
              <a:rPr lang="en-IE" dirty="0"/>
              <a:t> tasks such as cleaning, tokenization, removing stop words, and dealing with special characters or punctuation.</a:t>
            </a:r>
          </a:p>
          <a:p>
            <a:endParaRPr lang="en-IE" dirty="0"/>
          </a:p>
          <a:p>
            <a:r>
              <a:rPr lang="en-IE" dirty="0"/>
              <a:t>5. Model Selection and Fine-tuning: You need to have a good understanding of different GPT architectures and their specific use cases. Depending on your requirements, you should be able to choose the appropriate GPT model and fine-tune it for specific tasks, such as text generation, question answering, or sentiment analysis.</a:t>
            </a:r>
          </a:p>
          <a:p>
            <a:endParaRPr lang="en-IE" dirty="0"/>
          </a:p>
          <a:p>
            <a:r>
              <a:rPr lang="en-IE" dirty="0"/>
              <a:t>6. Evaluation Metrics: Assessing the performance of a GPT model requires knowledge of evaluation metrics specific to the task at hand. For instance, for text generation tasks, metrics like perplexity or BLEU scores are commonly used. Understanding these metrics and how to interpret them is essential.</a:t>
            </a:r>
          </a:p>
          <a:p>
            <a:endParaRPr lang="en-IE" dirty="0"/>
          </a:p>
          <a:p>
            <a:r>
              <a:rPr lang="en-IE" dirty="0"/>
              <a:t>7. GPU and Cloud Computing: Training and running GPT models can be computationally intensive, especially for larger models. Familiarity with GPU programming and cloud computing platforms like Google Cloud Platform or Amazon Web Services (AWS) can be beneficial to efficiently utilize computational resources.</a:t>
            </a:r>
          </a:p>
          <a:p>
            <a:endParaRPr lang="en-IE" dirty="0"/>
          </a:p>
          <a:p>
            <a:r>
              <a:rPr lang="en-IE" dirty="0"/>
              <a:t>8. Ethical Considerations: GPT models have the potential to generate biased, inappropriate, or misleading content. Understanding the ethical implications of using such models and being aware of the responsible use of AI are important skills. It's crucial to address bias, handle sensitive information appropriately, and ensure that the generated content aligns with ethical guidelines.</a:t>
            </a:r>
          </a:p>
          <a:p>
            <a:endParaRPr lang="en-IE" dirty="0"/>
          </a:p>
          <a:p>
            <a:r>
              <a:rPr lang="en-IE" dirty="0"/>
              <a:t>9. Domain Expertise: Depending on the specific application of the GPT model, having domain expertise can significantly enhance your ability to use the model effectively. This knowledge helps you interpret the model's outputs, fine-tune it for specific tasks, and provide meaningful context to the generated results.</a:t>
            </a:r>
          </a:p>
          <a:p>
            <a:endParaRPr lang="en-IE" dirty="0"/>
          </a:p>
          <a:p>
            <a:r>
              <a:rPr lang="en-IE" dirty="0"/>
              <a:t>By acquiring these skills, you'll be well-equipped to utilize GPT models effectively for various NLP tasks.</a:t>
            </a:r>
          </a:p>
          <a:p>
            <a:endParaRPr lang="en-IE" dirty="0"/>
          </a:p>
          <a:p>
            <a:endParaRPr lang="en-IE" dirty="0"/>
          </a:p>
          <a:p>
            <a:endParaRPr lang="en-IE" dirty="0"/>
          </a:p>
          <a:p>
            <a:r>
              <a:rPr lang="en-IE" dirty="0"/>
              <a:t>Critical thinking, when applied to the use of GPT models, refers to the ability to </a:t>
            </a:r>
            <a:r>
              <a:rPr lang="en-IE" dirty="0" err="1"/>
              <a:t>analyze</a:t>
            </a:r>
            <a:r>
              <a:rPr lang="en-IE" dirty="0"/>
              <a:t>, evaluate, and question the outputs, limitations, and ethical implications of the model. Here's how critical thinking can be applied:</a:t>
            </a:r>
          </a:p>
          <a:p>
            <a:endParaRPr lang="en-IE" dirty="0"/>
          </a:p>
          <a:p>
            <a:r>
              <a:rPr lang="en-IE" dirty="0"/>
              <a:t>1. Evaluating Output: Critical thinking involves carefully examining the outputs generated by the GPT model. Rather than accepting the generated content blindly, you should assess its accuracy, coherence, relevance, and potential biases. You should question whether the generated text aligns with the desired outcome and whether it contains any inaccuracies or misleading information.</a:t>
            </a:r>
          </a:p>
          <a:p>
            <a:endParaRPr lang="en-IE" dirty="0"/>
          </a:p>
          <a:p>
            <a:r>
              <a:rPr lang="en-IE" dirty="0"/>
              <a:t>2. Identifying Limitations: GPT models have certain limitations that critical thinkers should be aware of. These models may struggle with context comprehension, lack common sense reasoning, and generate content that may be factually incorrect or biased. It's important to understand these limitations and critically assess the reliability and credibility of the model's outputs.</a:t>
            </a:r>
          </a:p>
          <a:p>
            <a:endParaRPr lang="en-IE" dirty="0"/>
          </a:p>
          <a:p>
            <a:r>
              <a:rPr lang="en-IE" dirty="0"/>
              <a:t>3. Considering Ethical Implications: Critical thinking involves considering the ethical implications of using GPT models. These models have the potential to generate biased, harmful, or inappropriate content. It's crucial to critically evaluate the ethical implications of the generated outputs, including issues related to fairness, privacy, bias, and the impact on individuals or communities. Being mindful of ethical guidelines and responsible AI practices is an essential aspect of critical thinking.</a:t>
            </a:r>
          </a:p>
          <a:p>
            <a:endParaRPr lang="en-IE" dirty="0"/>
          </a:p>
          <a:p>
            <a:r>
              <a:rPr lang="en-IE" dirty="0"/>
              <a:t>4. Challenging Assumptions: Critical thinking requires questioning assumptions and biases that may be present in the GPT model itself or in the training data. It involves being </a:t>
            </a:r>
            <a:r>
              <a:rPr lang="en-IE" dirty="0" err="1"/>
              <a:t>skeptical</a:t>
            </a:r>
            <a:r>
              <a:rPr lang="en-IE" dirty="0"/>
              <a:t> and seeking evidence to support or refute the claims made by the model. This mindset helps in uncovering potential flaws or limitations that might affect the reliability and generalizability of the model's outputs.</a:t>
            </a:r>
          </a:p>
          <a:p>
            <a:endParaRPr lang="en-IE" dirty="0"/>
          </a:p>
          <a:p>
            <a:r>
              <a:rPr lang="en-IE" dirty="0"/>
              <a:t>5. Seeking Alternative Perspectives: Critical thinkers actively seek alternative perspectives and diverse viewpoints. When using GPT models, it's important to consider different sources of information and verify the outputs generated by the model against external resources. By incorporating multiple viewpoints and sources of knowledge, critical thinkers can gain a more comprehensive understanding of the topic and avoid potential pitfalls or biases.</a:t>
            </a:r>
          </a:p>
          <a:p>
            <a:endParaRPr lang="en-IE" dirty="0"/>
          </a:p>
          <a:p>
            <a:r>
              <a:rPr lang="en-IE" dirty="0"/>
              <a:t>6. Continuous Learning and Improvement: Critical thinking involves a commitment to continuous learning and improvement. Stay updated with the latest advancements and research in the field of NLP and GPT models. Actively seek feedback, experiment with different approaches, and be open to refining your understanding and methods over time.</a:t>
            </a:r>
          </a:p>
          <a:p>
            <a:endParaRPr lang="en-IE" dirty="0"/>
          </a:p>
          <a:p>
            <a:r>
              <a:rPr lang="en-IE" dirty="0"/>
              <a:t>By applying critical thinking to the use of GPT models, you can make more informed decisions, avoid potential pitfalls, address biases, and ensure responsible and ethical usage of AI technologies.</a:t>
            </a:r>
          </a:p>
          <a:p>
            <a:endParaRPr lang="en-IE" dirty="0"/>
          </a:p>
          <a:p>
            <a:endParaRPr lang="en-IE" dirty="0"/>
          </a:p>
          <a:p>
            <a:r>
              <a:rPr lang="en-IE" dirty="0"/>
              <a:t>Sure! Here are the key points about critical thinking when applied to the use of GPT models, presented in bullet point format:</a:t>
            </a:r>
          </a:p>
          <a:p>
            <a:endParaRPr lang="en-IE" dirty="0"/>
          </a:p>
          <a:p>
            <a:r>
              <a:rPr lang="en-IE" dirty="0"/>
              <a:t>- Evaluating output:</a:t>
            </a:r>
          </a:p>
          <a:p>
            <a:r>
              <a:rPr lang="en-IE" dirty="0"/>
              <a:t>  - </a:t>
            </a:r>
            <a:r>
              <a:rPr lang="en-IE" dirty="0" err="1"/>
              <a:t>Analyze</a:t>
            </a:r>
            <a:r>
              <a:rPr lang="en-IE" dirty="0"/>
              <a:t> accuracy, coherence, and relevance of generated content.</a:t>
            </a:r>
          </a:p>
          <a:p>
            <a:r>
              <a:rPr lang="en-IE" dirty="0"/>
              <a:t>  - Question potential biases and misleading information.</a:t>
            </a:r>
          </a:p>
          <a:p>
            <a:endParaRPr lang="en-IE" dirty="0"/>
          </a:p>
          <a:p>
            <a:r>
              <a:rPr lang="en-IE" dirty="0"/>
              <a:t>- Identifying limitations:</a:t>
            </a:r>
          </a:p>
          <a:p>
            <a:r>
              <a:rPr lang="en-IE" dirty="0"/>
              <a:t>  - Understand context comprehension and common sense reasoning limitations.</a:t>
            </a:r>
          </a:p>
          <a:p>
            <a:r>
              <a:rPr lang="en-IE" dirty="0"/>
              <a:t>  - Assess reliability and credibility of model's outputs.</a:t>
            </a:r>
          </a:p>
          <a:p>
            <a:endParaRPr lang="en-IE" dirty="0"/>
          </a:p>
          <a:p>
            <a:r>
              <a:rPr lang="en-IE" dirty="0"/>
              <a:t>- Considering ethical implications:</a:t>
            </a:r>
          </a:p>
          <a:p>
            <a:r>
              <a:rPr lang="en-IE" dirty="0"/>
              <a:t>  - Evaluate potential biases, harm, and inappropriate content.</a:t>
            </a:r>
          </a:p>
          <a:p>
            <a:r>
              <a:rPr lang="en-IE" dirty="0"/>
              <a:t>  - Address fairness, privacy, and impact on individuals or communities.</a:t>
            </a:r>
          </a:p>
          <a:p>
            <a:endParaRPr lang="en-IE" dirty="0"/>
          </a:p>
          <a:p>
            <a:r>
              <a:rPr lang="en-IE" dirty="0"/>
              <a:t>- Challenging assumptions:</a:t>
            </a:r>
          </a:p>
          <a:p>
            <a:r>
              <a:rPr lang="en-IE" dirty="0"/>
              <a:t>  - Question biases in the model and training data.</a:t>
            </a:r>
          </a:p>
          <a:p>
            <a:r>
              <a:rPr lang="en-IE" dirty="0"/>
              <a:t>  - Seek evidence to support or refute model claims.</a:t>
            </a:r>
          </a:p>
          <a:p>
            <a:endParaRPr lang="en-IE" dirty="0"/>
          </a:p>
          <a:p>
            <a:r>
              <a:rPr lang="en-IE" dirty="0"/>
              <a:t>- Seeking alternative perspectives:</a:t>
            </a:r>
          </a:p>
          <a:p>
            <a:r>
              <a:rPr lang="en-IE" dirty="0"/>
              <a:t>  - Incorporate diverse viewpoints and external resources.</a:t>
            </a:r>
          </a:p>
          <a:p>
            <a:r>
              <a:rPr lang="en-IE" dirty="0"/>
              <a:t>  - Verify model outputs against multiple sources of information.</a:t>
            </a:r>
          </a:p>
          <a:p>
            <a:endParaRPr lang="en-IE" dirty="0"/>
          </a:p>
          <a:p>
            <a:r>
              <a:rPr lang="en-IE" dirty="0"/>
              <a:t>- Continuous learning and improvement:</a:t>
            </a:r>
          </a:p>
          <a:p>
            <a:r>
              <a:rPr lang="en-IE" dirty="0"/>
              <a:t>  - Stay updated with NLP and GPT advancements.</a:t>
            </a:r>
          </a:p>
          <a:p>
            <a:r>
              <a:rPr lang="en-IE" dirty="0"/>
              <a:t>  - Seek feedback, experiment, and refine understanding over time.</a:t>
            </a:r>
          </a:p>
          <a:p>
            <a:endParaRPr lang="en-IE" dirty="0"/>
          </a:p>
          <a:p>
            <a:r>
              <a:rPr lang="en-IE" dirty="0"/>
              <a:t>By applying critical thinking, you can make informed decisions, address biases, and ensure responsible and ethical use of GPT models.</a:t>
            </a:r>
          </a:p>
        </p:txBody>
      </p:sp>
      <p:sp>
        <p:nvSpPr>
          <p:cNvPr id="4" name="Slide Number Placeholder 3"/>
          <p:cNvSpPr>
            <a:spLocks noGrp="1"/>
          </p:cNvSpPr>
          <p:nvPr>
            <p:ph type="sldNum" sz="quarter" idx="5"/>
          </p:nvPr>
        </p:nvSpPr>
        <p:spPr/>
        <p:txBody>
          <a:bodyPr/>
          <a:lstStyle/>
          <a:p>
            <a:fld id="{A66E8080-63FB-DD40-B20A-E70DC993E68C}" type="slidenum">
              <a:rPr lang="en-BE" smtClean="0"/>
              <a:t>17</a:t>
            </a:fld>
            <a:endParaRPr lang="en-BE"/>
          </a:p>
        </p:txBody>
      </p:sp>
    </p:spTree>
    <p:extLst>
      <p:ext uri="{BB962C8B-B14F-4D97-AF65-F5344CB8AC3E}">
        <p14:creationId xmlns:p14="http://schemas.microsoft.com/office/powerpoint/2010/main" val="1976216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To effectively use a GPT (Generative Pre-trained Transformer) model, you need a combination of technical skills and domain expertise. Here are the key skills required:</a:t>
            </a:r>
          </a:p>
          <a:p>
            <a:endParaRPr lang="en-IE" dirty="0"/>
          </a:p>
          <a:p>
            <a:r>
              <a:rPr lang="en-IE" dirty="0"/>
              <a:t>1. Understanding of Natural Language Processing (NLP): Familiarity with the basics of NLP, including tokenization, text normalization, and language </a:t>
            </a:r>
            <a:r>
              <a:rPr lang="en-IE" dirty="0" err="1"/>
              <a:t>modeling</a:t>
            </a:r>
            <a:r>
              <a:rPr lang="en-IE" dirty="0"/>
              <a:t>, is essential. You should understand concepts like word embeddings, attention mechanisms, and transformer architectures.</a:t>
            </a:r>
          </a:p>
          <a:p>
            <a:endParaRPr lang="en-IE" dirty="0"/>
          </a:p>
          <a:p>
            <a:r>
              <a:rPr lang="en-IE" dirty="0"/>
              <a:t>2. Python Programming: Proficiency in Python is crucial, as most GPT models and related libraries are implemented in Python. You should be comfortable writing code, manipulating text data, and working with popular NLP libraries such as TensorFlow or </a:t>
            </a:r>
            <a:r>
              <a:rPr lang="en-IE" dirty="0" err="1"/>
              <a:t>PyTorch</a:t>
            </a:r>
            <a:r>
              <a:rPr lang="en-IE" dirty="0"/>
              <a:t>.</a:t>
            </a:r>
          </a:p>
          <a:p>
            <a:endParaRPr lang="en-IE" dirty="0"/>
          </a:p>
          <a:p>
            <a:r>
              <a:rPr lang="en-IE" dirty="0"/>
              <a:t>3. Knowledge of Deep Learning: GPT models are based on deep learning techniques. Understanding the fundamentals of deep learning, including neural networks, backpropagation, and optimization algorithms, is important. Additionally, familiarity with deep learning libraries like TensorFlow or </a:t>
            </a:r>
            <a:r>
              <a:rPr lang="en-IE" dirty="0" err="1"/>
              <a:t>PyTorch</a:t>
            </a:r>
            <a:r>
              <a:rPr lang="en-IE" dirty="0"/>
              <a:t> is beneficial.</a:t>
            </a:r>
          </a:p>
          <a:p>
            <a:endParaRPr lang="en-IE" dirty="0"/>
          </a:p>
          <a:p>
            <a:r>
              <a:rPr lang="en-IE" dirty="0"/>
              <a:t>4. Data </a:t>
            </a:r>
            <a:r>
              <a:rPr lang="en-IE" dirty="0" err="1"/>
              <a:t>Preprocessing</a:t>
            </a:r>
            <a:r>
              <a:rPr lang="en-IE" dirty="0"/>
              <a:t>: GPT models require properly </a:t>
            </a:r>
            <a:r>
              <a:rPr lang="en-IE" dirty="0" err="1"/>
              <a:t>preprocessed</a:t>
            </a:r>
            <a:r>
              <a:rPr lang="en-IE" dirty="0"/>
              <a:t> data for optimal performance. You should be skilled in handling data </a:t>
            </a:r>
            <a:r>
              <a:rPr lang="en-IE" dirty="0" err="1"/>
              <a:t>preprocessing</a:t>
            </a:r>
            <a:r>
              <a:rPr lang="en-IE" dirty="0"/>
              <a:t> tasks such as cleaning, tokenization, removing stop words, and dealing with special characters or punctuation.</a:t>
            </a:r>
          </a:p>
          <a:p>
            <a:endParaRPr lang="en-IE" dirty="0"/>
          </a:p>
          <a:p>
            <a:r>
              <a:rPr lang="en-IE" dirty="0"/>
              <a:t>5. Model Selection and Fine-tuning: You need to have a good understanding of different GPT architectures and their specific use cases. Depending on your requirements, you should be able to choose the appropriate GPT model and fine-tune it for specific tasks, such as text generation, question answering, or sentiment analysis.</a:t>
            </a:r>
          </a:p>
          <a:p>
            <a:endParaRPr lang="en-IE" dirty="0"/>
          </a:p>
          <a:p>
            <a:r>
              <a:rPr lang="en-IE" dirty="0"/>
              <a:t>6. Evaluation Metrics: Assessing the performance of a GPT model requires knowledge of evaluation metrics specific to the task at hand. For instance, for text generation tasks, metrics like perplexity or BLEU scores are commonly used. Understanding these metrics and how to interpret them is essential.</a:t>
            </a:r>
          </a:p>
          <a:p>
            <a:endParaRPr lang="en-IE" dirty="0"/>
          </a:p>
          <a:p>
            <a:r>
              <a:rPr lang="en-IE" dirty="0"/>
              <a:t>7. GPU and Cloud Computing: Training and running GPT models can be computationally intensive, especially for larger models. Familiarity with GPU programming and cloud computing platforms like Google Cloud Platform or Amazon Web Services (AWS) can be beneficial to efficiently utilize computational resources.</a:t>
            </a:r>
          </a:p>
          <a:p>
            <a:endParaRPr lang="en-IE" dirty="0"/>
          </a:p>
          <a:p>
            <a:r>
              <a:rPr lang="en-IE" dirty="0"/>
              <a:t>8. Ethical Considerations: GPT models have the potential to generate biased, inappropriate, or misleading content. Understanding the ethical implications of using such models and being aware of the responsible use of AI are important skills. It's crucial to address bias, handle sensitive information appropriately, and ensure that the generated content aligns with ethical guidelines.</a:t>
            </a:r>
          </a:p>
          <a:p>
            <a:endParaRPr lang="en-IE" dirty="0"/>
          </a:p>
          <a:p>
            <a:r>
              <a:rPr lang="en-IE" dirty="0"/>
              <a:t>9. Domain Expertise: Depending on the specific application of the GPT model, having domain expertise can significantly enhance your ability to use the model effectively. This knowledge helps you interpret the model's outputs, fine-tune it for specific tasks, and provide meaningful context to the generated results.</a:t>
            </a:r>
          </a:p>
          <a:p>
            <a:endParaRPr lang="en-IE" dirty="0"/>
          </a:p>
          <a:p>
            <a:r>
              <a:rPr lang="en-IE" dirty="0"/>
              <a:t>By acquiring these skills, you'll be well-equipped to utilize GPT models effectively for various NLP tasks.</a:t>
            </a:r>
          </a:p>
          <a:p>
            <a:endParaRPr lang="en-IE" dirty="0"/>
          </a:p>
          <a:p>
            <a:endParaRPr lang="en-IE" dirty="0"/>
          </a:p>
          <a:p>
            <a:endParaRPr lang="en-IE" dirty="0"/>
          </a:p>
          <a:p>
            <a:r>
              <a:rPr lang="en-IE" dirty="0"/>
              <a:t>Critical thinking, when applied to the use of GPT models, refers to the ability to </a:t>
            </a:r>
            <a:r>
              <a:rPr lang="en-IE" dirty="0" err="1"/>
              <a:t>analyze</a:t>
            </a:r>
            <a:r>
              <a:rPr lang="en-IE" dirty="0"/>
              <a:t>, evaluate, and question the outputs, limitations, and ethical implications of the model. Here's how critical thinking can be applied:</a:t>
            </a:r>
          </a:p>
          <a:p>
            <a:endParaRPr lang="en-IE" dirty="0"/>
          </a:p>
          <a:p>
            <a:r>
              <a:rPr lang="en-IE" dirty="0"/>
              <a:t>1. Evaluating Output: Critical thinking involves carefully examining the outputs generated by the GPT model. Rather than accepting the generated content blindly, you should assess its accuracy, coherence, relevance, and potential biases. You should question whether the generated text aligns with the desired outcome and whether it contains any inaccuracies or misleading information.</a:t>
            </a:r>
          </a:p>
          <a:p>
            <a:endParaRPr lang="en-IE" dirty="0"/>
          </a:p>
          <a:p>
            <a:r>
              <a:rPr lang="en-IE" dirty="0"/>
              <a:t>2. Identifying Limitations: GPT models have certain limitations that critical thinkers should be aware of. These models may struggle with context comprehension, lack common sense reasoning, and generate content that may be factually incorrect or biased. It's important to understand these limitations and critically assess the reliability and credibility of the model's outputs.</a:t>
            </a:r>
          </a:p>
          <a:p>
            <a:endParaRPr lang="en-IE" dirty="0"/>
          </a:p>
          <a:p>
            <a:r>
              <a:rPr lang="en-IE" dirty="0"/>
              <a:t>3. Considering Ethical Implications: Critical thinking involves considering the ethical implications of using GPT models. These models have the potential to generate biased, harmful, or inappropriate content. It's crucial to critically evaluate the ethical implications of the generated outputs, including issues related to fairness, privacy, bias, and the impact on individuals or communities. Being mindful of ethical guidelines and responsible AI practices is an essential aspect of critical thinking.</a:t>
            </a:r>
          </a:p>
          <a:p>
            <a:endParaRPr lang="en-IE" dirty="0"/>
          </a:p>
          <a:p>
            <a:r>
              <a:rPr lang="en-IE" dirty="0"/>
              <a:t>4. Challenging Assumptions: Critical thinking requires questioning assumptions and biases that may be present in the GPT model itself or in the training data. It involves being </a:t>
            </a:r>
            <a:r>
              <a:rPr lang="en-IE" dirty="0" err="1"/>
              <a:t>skeptical</a:t>
            </a:r>
            <a:r>
              <a:rPr lang="en-IE" dirty="0"/>
              <a:t> and seeking evidence to support or refute the claims made by the model. This mindset helps in uncovering potential flaws or limitations that might affect the reliability and generalizability of the model's outputs.</a:t>
            </a:r>
          </a:p>
          <a:p>
            <a:endParaRPr lang="en-IE" dirty="0"/>
          </a:p>
          <a:p>
            <a:r>
              <a:rPr lang="en-IE" dirty="0"/>
              <a:t>5. Seeking Alternative Perspectives: Critical thinkers actively seek alternative perspectives and diverse viewpoints. When using GPT models, it's important to consider different sources of information and verify the outputs generated by the model against external resources. By incorporating multiple viewpoints and sources of knowledge, critical thinkers can gain a more comprehensive understanding of the topic and avoid potential pitfalls or biases.</a:t>
            </a:r>
          </a:p>
          <a:p>
            <a:endParaRPr lang="en-IE" dirty="0"/>
          </a:p>
          <a:p>
            <a:r>
              <a:rPr lang="en-IE" dirty="0"/>
              <a:t>6. Continuous Learning and Improvement: Critical thinking involves a commitment to continuous learning and improvement. Stay updated with the latest advancements and research in the field of NLP and GPT models. Actively seek feedback, experiment with different approaches, and be open to refining your understanding and methods over time.</a:t>
            </a:r>
          </a:p>
          <a:p>
            <a:endParaRPr lang="en-IE" dirty="0"/>
          </a:p>
          <a:p>
            <a:r>
              <a:rPr lang="en-IE" dirty="0"/>
              <a:t>By applying critical thinking to the use of GPT models, you can make more informed decisions, avoid potential pitfalls, address biases, and ensure responsible and ethical usage of AI technologies.</a:t>
            </a:r>
          </a:p>
          <a:p>
            <a:endParaRPr lang="en-IE" dirty="0"/>
          </a:p>
          <a:p>
            <a:endParaRPr lang="en-IE" dirty="0"/>
          </a:p>
          <a:p>
            <a:r>
              <a:rPr lang="en-IE" dirty="0"/>
              <a:t>Sure! Here are the key points about critical thinking when applied to the use of GPT models, presented in bullet point format:</a:t>
            </a:r>
          </a:p>
          <a:p>
            <a:endParaRPr lang="en-IE" dirty="0"/>
          </a:p>
          <a:p>
            <a:r>
              <a:rPr lang="en-IE" dirty="0"/>
              <a:t>- Evaluating output:</a:t>
            </a:r>
          </a:p>
          <a:p>
            <a:r>
              <a:rPr lang="en-IE" dirty="0"/>
              <a:t>  - </a:t>
            </a:r>
            <a:r>
              <a:rPr lang="en-IE" dirty="0" err="1"/>
              <a:t>Analyze</a:t>
            </a:r>
            <a:r>
              <a:rPr lang="en-IE" dirty="0"/>
              <a:t> accuracy, coherence, and relevance of generated content.</a:t>
            </a:r>
          </a:p>
          <a:p>
            <a:r>
              <a:rPr lang="en-IE" dirty="0"/>
              <a:t>  - Question potential biases and misleading information.</a:t>
            </a:r>
          </a:p>
          <a:p>
            <a:endParaRPr lang="en-IE" dirty="0"/>
          </a:p>
          <a:p>
            <a:r>
              <a:rPr lang="en-IE" dirty="0"/>
              <a:t>- Identifying limitations:</a:t>
            </a:r>
          </a:p>
          <a:p>
            <a:r>
              <a:rPr lang="en-IE" dirty="0"/>
              <a:t>  - Understand context comprehension and common sense reasoning limitations.</a:t>
            </a:r>
          </a:p>
          <a:p>
            <a:r>
              <a:rPr lang="en-IE" dirty="0"/>
              <a:t>  - Assess reliability and credibility of model's outputs.</a:t>
            </a:r>
          </a:p>
          <a:p>
            <a:endParaRPr lang="en-IE" dirty="0"/>
          </a:p>
          <a:p>
            <a:r>
              <a:rPr lang="en-IE" dirty="0"/>
              <a:t>- Considering ethical implications:</a:t>
            </a:r>
          </a:p>
          <a:p>
            <a:r>
              <a:rPr lang="en-IE" dirty="0"/>
              <a:t>  - Evaluate potential biases, harm, and inappropriate content.</a:t>
            </a:r>
          </a:p>
          <a:p>
            <a:r>
              <a:rPr lang="en-IE" dirty="0"/>
              <a:t>  - Address fairness, privacy, and impact on individuals or communities.</a:t>
            </a:r>
          </a:p>
          <a:p>
            <a:endParaRPr lang="en-IE" dirty="0"/>
          </a:p>
          <a:p>
            <a:r>
              <a:rPr lang="en-IE" dirty="0"/>
              <a:t>- Challenging assumptions:</a:t>
            </a:r>
          </a:p>
          <a:p>
            <a:r>
              <a:rPr lang="en-IE" dirty="0"/>
              <a:t>  - Question biases in the model and training data.</a:t>
            </a:r>
          </a:p>
          <a:p>
            <a:r>
              <a:rPr lang="en-IE" dirty="0"/>
              <a:t>  - Seek evidence to support or refute model claims.</a:t>
            </a:r>
          </a:p>
          <a:p>
            <a:endParaRPr lang="en-IE" dirty="0"/>
          </a:p>
          <a:p>
            <a:r>
              <a:rPr lang="en-IE" dirty="0"/>
              <a:t>- Seeking alternative perspectives:</a:t>
            </a:r>
          </a:p>
          <a:p>
            <a:r>
              <a:rPr lang="en-IE" dirty="0"/>
              <a:t>  - Incorporate diverse viewpoints and external resources.</a:t>
            </a:r>
          </a:p>
          <a:p>
            <a:r>
              <a:rPr lang="en-IE" dirty="0"/>
              <a:t>  - Verify model outputs against multiple sources of information.</a:t>
            </a:r>
          </a:p>
          <a:p>
            <a:endParaRPr lang="en-IE" dirty="0"/>
          </a:p>
          <a:p>
            <a:r>
              <a:rPr lang="en-IE" dirty="0"/>
              <a:t>- Continuous learning and improvement:</a:t>
            </a:r>
          </a:p>
          <a:p>
            <a:r>
              <a:rPr lang="en-IE" dirty="0"/>
              <a:t>  - Stay updated with NLP and GPT advancements.</a:t>
            </a:r>
          </a:p>
          <a:p>
            <a:r>
              <a:rPr lang="en-IE" dirty="0"/>
              <a:t>  - Seek feedback, experiment, and refine understanding over time.</a:t>
            </a:r>
          </a:p>
          <a:p>
            <a:endParaRPr lang="en-IE" dirty="0"/>
          </a:p>
          <a:p>
            <a:r>
              <a:rPr lang="en-IE" dirty="0"/>
              <a:t>By applying critical thinking, you can make informed decisions, address biases, and ensure responsible and ethical use of GPT models.</a:t>
            </a:r>
          </a:p>
        </p:txBody>
      </p:sp>
      <p:sp>
        <p:nvSpPr>
          <p:cNvPr id="4" name="Slide Number Placeholder 3"/>
          <p:cNvSpPr>
            <a:spLocks noGrp="1"/>
          </p:cNvSpPr>
          <p:nvPr>
            <p:ph type="sldNum" sz="quarter" idx="5"/>
          </p:nvPr>
        </p:nvSpPr>
        <p:spPr/>
        <p:txBody>
          <a:bodyPr/>
          <a:lstStyle/>
          <a:p>
            <a:fld id="{A66E8080-63FB-DD40-B20A-E70DC993E68C}" type="slidenum">
              <a:rPr lang="en-BE" smtClean="0"/>
              <a:t>18</a:t>
            </a:fld>
            <a:endParaRPr lang="en-BE"/>
          </a:p>
        </p:txBody>
      </p:sp>
    </p:spTree>
    <p:extLst>
      <p:ext uri="{BB962C8B-B14F-4D97-AF65-F5344CB8AC3E}">
        <p14:creationId xmlns:p14="http://schemas.microsoft.com/office/powerpoint/2010/main" val="14883725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tif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0AC6B6BD-AA56-EE56-77B6-52A24380F903}"/>
              </a:ext>
            </a:extLst>
          </p:cNvPr>
          <p:cNvSpPr/>
          <p:nvPr userDrawn="1"/>
        </p:nvSpPr>
        <p:spPr>
          <a:xfrm>
            <a:off x="5347083" y="6411748"/>
            <a:ext cx="149624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200" b="0" i="0" u="none" strike="noStrike" kern="1200" cap="none" spc="0" normalizeH="0" baseline="0" noProof="0" dirty="0">
                <a:ln>
                  <a:noFill/>
                </a:ln>
                <a:solidFill>
                  <a:srgbClr val="74009B"/>
                </a:solidFill>
                <a:effectLst/>
                <a:uLnTx/>
                <a:uFillTx/>
                <a:latin typeface="+mn-lt"/>
                <a:ea typeface="+mn-ea"/>
                <a:cs typeface="+mn-cs"/>
              </a:rPr>
              <a:t>©</a:t>
            </a:r>
            <a:r>
              <a:rPr kumimoji="0" lang="en-IE" sz="1200" b="0" i="0" u="none" strike="noStrike" kern="1200" cap="none" spc="0" normalizeH="0" baseline="0" noProof="0" dirty="0">
                <a:ln>
                  <a:noFill/>
                </a:ln>
                <a:solidFill>
                  <a:srgbClr val="74009B"/>
                </a:solidFill>
                <a:effectLst/>
                <a:uLnTx/>
                <a:uFillTx/>
                <a:latin typeface="+mn-lt"/>
                <a:ea typeface="+mn-ea"/>
                <a:cs typeface="+mn-cs"/>
              </a:rPr>
              <a:t> 2024 BearingPoint</a:t>
            </a:r>
          </a:p>
        </p:txBody>
      </p:sp>
      <p:sp>
        <p:nvSpPr>
          <p:cNvPr id="2" name="Title 1">
            <a:extLst>
              <a:ext uri="{FF2B5EF4-FFF2-40B4-BE49-F238E27FC236}">
                <a16:creationId xmlns:a16="http://schemas.microsoft.com/office/drawing/2014/main" id="{548CD91F-B9FB-E754-7DF3-DF9E9416B2DE}"/>
              </a:ext>
            </a:extLst>
          </p:cNvPr>
          <p:cNvSpPr>
            <a:spLocks noGrp="1"/>
          </p:cNvSpPr>
          <p:nvPr>
            <p:ph type="title"/>
          </p:nvPr>
        </p:nvSpPr>
        <p:spPr>
          <a:xfrm>
            <a:off x="838200" y="365125"/>
            <a:ext cx="10515600" cy="424732"/>
          </a:xfrm>
        </p:spPr>
        <p:txBody>
          <a:bodyPr/>
          <a:lstStyle>
            <a:lvl1pPr>
              <a:defRPr lang="en-GB" sz="2400" kern="1200" smtClean="0">
                <a:gradFill flip="none" rotWithShape="1">
                  <a:gsLst>
                    <a:gs pos="0">
                      <a:schemeClr val="bg1"/>
                    </a:gs>
                    <a:gs pos="100000">
                      <a:srgbClr val="0E8BAB"/>
                    </a:gs>
                  </a:gsLst>
                  <a:lin ang="10800000" scaled="1"/>
                  <a:tileRect/>
                </a:gradFill>
                <a:latin typeface="BearingPoint Sans L + C" pitchFamily="2" charset="77"/>
                <a:ea typeface="+mn-ea"/>
                <a:cs typeface="+mn-cs"/>
              </a:defRPr>
            </a:lvl1pPr>
          </a:lstStyle>
          <a:p>
            <a:r>
              <a:rPr lang="en-GB" dirty="0"/>
              <a:t>Click to edit Master title style</a:t>
            </a:r>
            <a:endParaRPr lang="en-IE" dirty="0"/>
          </a:p>
        </p:txBody>
      </p:sp>
      <p:pic>
        <p:nvPicPr>
          <p:cNvPr id="6" name="Picture 5" descr="A person in a space suit&#10;&#10;Description automatically generated with medium confidence">
            <a:extLst>
              <a:ext uri="{FF2B5EF4-FFF2-40B4-BE49-F238E27FC236}">
                <a16:creationId xmlns:a16="http://schemas.microsoft.com/office/drawing/2014/main" id="{EFDA6486-4ED3-2EF7-CE93-3A02DBD8D4C3}"/>
              </a:ext>
            </a:extLst>
          </p:cNvPr>
          <p:cNvPicPr>
            <a:picLocks noChangeAspect="1"/>
          </p:cNvPicPr>
          <p:nvPr userDrawn="1"/>
        </p:nvPicPr>
        <p:blipFill rotWithShape="1">
          <a:blip r:embed="rId2"/>
          <a:srcRect l="8883" t="1445" r="20429"/>
          <a:stretch/>
        </p:blipFill>
        <p:spPr>
          <a:xfrm>
            <a:off x="0" y="6397"/>
            <a:ext cx="12192000" cy="6359392"/>
          </a:xfrm>
          <a:prstGeom prst="rect">
            <a:avLst/>
          </a:prstGeom>
        </p:spPr>
      </p:pic>
    </p:spTree>
    <p:extLst>
      <p:ext uri="{BB962C8B-B14F-4D97-AF65-F5344CB8AC3E}">
        <p14:creationId xmlns:p14="http://schemas.microsoft.com/office/powerpoint/2010/main" val="43838025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Blank">
    <p:spTree>
      <p:nvGrpSpPr>
        <p:cNvPr id="1" name=""/>
        <p:cNvGrpSpPr/>
        <p:nvPr/>
      </p:nvGrpSpPr>
      <p:grpSpPr>
        <a:xfrm>
          <a:off x="0" y="0"/>
          <a:ext cx="0" cy="0"/>
          <a:chOff x="0" y="0"/>
          <a:chExt cx="0" cy="0"/>
        </a:xfrm>
      </p:grpSpPr>
      <p:pic>
        <p:nvPicPr>
          <p:cNvPr id="36" name="Picture 35" descr="A person in a space suit&#10;&#10;Description automatically generated with medium confidence">
            <a:extLst>
              <a:ext uri="{FF2B5EF4-FFF2-40B4-BE49-F238E27FC236}">
                <a16:creationId xmlns:a16="http://schemas.microsoft.com/office/drawing/2014/main" id="{C1234CD0-CDCE-9612-532D-823312C0EC4D}"/>
              </a:ext>
            </a:extLst>
          </p:cNvPr>
          <p:cNvPicPr>
            <a:picLocks noChangeAspect="1"/>
          </p:cNvPicPr>
          <p:nvPr userDrawn="1"/>
        </p:nvPicPr>
        <p:blipFill rotWithShape="1">
          <a:blip r:embed="rId2"/>
          <a:srcRect l="8883" t="1445" r="20429"/>
          <a:stretch/>
        </p:blipFill>
        <p:spPr>
          <a:xfrm>
            <a:off x="0" y="6397"/>
            <a:ext cx="12192000" cy="6359392"/>
          </a:xfrm>
          <a:prstGeom prst="rect">
            <a:avLst/>
          </a:prstGeom>
        </p:spPr>
      </p:pic>
      <p:pic>
        <p:nvPicPr>
          <p:cNvPr id="2" name="Picture 1">
            <a:extLst>
              <a:ext uri="{FF2B5EF4-FFF2-40B4-BE49-F238E27FC236}">
                <a16:creationId xmlns:a16="http://schemas.microsoft.com/office/drawing/2014/main" id="{B71A1CB5-A8C7-B3DE-C57A-E37B486AB011}"/>
              </a:ext>
            </a:extLst>
          </p:cNvPr>
          <p:cNvPicPr>
            <a:picLocks noChangeAspect="1"/>
          </p:cNvPicPr>
          <p:nvPr userDrawn="1"/>
        </p:nvPicPr>
        <p:blipFill>
          <a:blip r:embed="rId3"/>
          <a:stretch>
            <a:fillRect/>
          </a:stretch>
        </p:blipFill>
        <p:spPr>
          <a:xfrm>
            <a:off x="0" y="6375400"/>
            <a:ext cx="2895600" cy="482600"/>
          </a:xfrm>
          <a:prstGeom prst="rect">
            <a:avLst/>
          </a:prstGeom>
        </p:spPr>
      </p:pic>
      <p:sp>
        <p:nvSpPr>
          <p:cNvPr id="3" name="Title 2">
            <a:extLst>
              <a:ext uri="{FF2B5EF4-FFF2-40B4-BE49-F238E27FC236}">
                <a16:creationId xmlns:a16="http://schemas.microsoft.com/office/drawing/2014/main" id="{ABF0FF63-5796-0A69-AEE1-0F4D36AB6E83}"/>
              </a:ext>
            </a:extLst>
          </p:cNvPr>
          <p:cNvSpPr>
            <a:spLocks noGrp="1"/>
          </p:cNvSpPr>
          <p:nvPr>
            <p:ph type="title"/>
          </p:nvPr>
        </p:nvSpPr>
        <p:spPr>
          <a:xfrm>
            <a:off x="838200" y="365125"/>
            <a:ext cx="10515600" cy="424732"/>
          </a:xfrm>
        </p:spPr>
        <p:txBody>
          <a:bodyPr wrap="square">
            <a:spAutoFit/>
          </a:bodyPr>
          <a:lstStyle>
            <a:lvl1pPr>
              <a:defRPr lang="en-IE" sz="2400">
                <a:gradFill flip="none" rotWithShape="1">
                  <a:gsLst>
                    <a:gs pos="0">
                      <a:schemeClr val="bg1"/>
                    </a:gs>
                    <a:gs pos="100000">
                      <a:srgbClr val="0E8BAB"/>
                    </a:gs>
                  </a:gsLst>
                  <a:lin ang="10800000" scaled="1"/>
                  <a:tileRect/>
                </a:gradFill>
              </a:defRPr>
            </a:lvl1pPr>
          </a:lstStyle>
          <a:p>
            <a:pPr lvl="0"/>
            <a:r>
              <a:rPr lang="en-GB" dirty="0"/>
              <a:t>Click to edit Master title style</a:t>
            </a:r>
            <a:endParaRPr lang="en-IE" dirty="0"/>
          </a:p>
        </p:txBody>
      </p:sp>
    </p:spTree>
    <p:extLst>
      <p:ext uri="{BB962C8B-B14F-4D97-AF65-F5344CB8AC3E}">
        <p14:creationId xmlns:p14="http://schemas.microsoft.com/office/powerpoint/2010/main" val="266888812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94B575-A2EA-AFC1-93DF-66D55AAF577B}"/>
              </a:ext>
            </a:extLst>
          </p:cNvPr>
          <p:cNvGrpSpPr/>
          <p:nvPr userDrawn="1"/>
        </p:nvGrpSpPr>
        <p:grpSpPr>
          <a:xfrm>
            <a:off x="0" y="-46496"/>
            <a:ext cx="12192000" cy="6411750"/>
            <a:chOff x="0" y="-2"/>
            <a:chExt cx="11608904" cy="6245080"/>
          </a:xfrm>
        </p:grpSpPr>
        <p:pic>
          <p:nvPicPr>
            <p:cNvPr id="7" name="Image 4">
              <a:extLst>
                <a:ext uri="{FF2B5EF4-FFF2-40B4-BE49-F238E27FC236}">
                  <a16:creationId xmlns:a16="http://schemas.microsoft.com/office/drawing/2014/main" id="{A54CE218-15AB-63CD-87CE-A60E3AD9CC46}"/>
                </a:ext>
              </a:extLst>
            </p:cNvPr>
            <p:cNvPicPr>
              <a:picLocks noChangeAspect="1"/>
            </p:cNvPicPr>
            <p:nvPr userDrawn="1"/>
          </p:nvPicPr>
          <p:blipFill rotWithShape="1">
            <a:blip r:embed="rId2"/>
            <a:srcRect l="1844" t="10625" r="52303" b="15190"/>
            <a:stretch/>
          </p:blipFill>
          <p:spPr>
            <a:xfrm>
              <a:off x="0" y="-2"/>
              <a:ext cx="5804452" cy="6245078"/>
            </a:xfrm>
            <a:prstGeom prst="rect">
              <a:avLst/>
            </a:prstGeom>
          </p:spPr>
        </p:pic>
        <p:pic>
          <p:nvPicPr>
            <p:cNvPr id="8" name="Image 4">
              <a:extLst>
                <a:ext uri="{FF2B5EF4-FFF2-40B4-BE49-F238E27FC236}">
                  <a16:creationId xmlns:a16="http://schemas.microsoft.com/office/drawing/2014/main" id="{5B9B157E-D9F2-0086-F2CE-2CEDA9310888}"/>
                </a:ext>
              </a:extLst>
            </p:cNvPr>
            <p:cNvPicPr>
              <a:picLocks noChangeAspect="1"/>
            </p:cNvPicPr>
            <p:nvPr userDrawn="1"/>
          </p:nvPicPr>
          <p:blipFill rotWithShape="1">
            <a:blip r:embed="rId2"/>
            <a:srcRect l="1844" t="10625" r="52303" b="15190"/>
            <a:stretch/>
          </p:blipFill>
          <p:spPr>
            <a:xfrm flipH="1">
              <a:off x="5804452" y="0"/>
              <a:ext cx="5804452" cy="6245078"/>
            </a:xfrm>
            <a:prstGeom prst="rect">
              <a:avLst/>
            </a:prstGeom>
          </p:spPr>
        </p:pic>
      </p:grpSp>
      <p:sp>
        <p:nvSpPr>
          <p:cNvPr id="3" name="Content Placeholder 2">
            <a:extLst>
              <a:ext uri="{FF2B5EF4-FFF2-40B4-BE49-F238E27FC236}">
                <a16:creationId xmlns:a16="http://schemas.microsoft.com/office/drawing/2014/main" id="{6D36547A-D175-474C-89B7-51A5582DF06E}"/>
              </a:ext>
            </a:extLst>
          </p:cNvPr>
          <p:cNvSpPr>
            <a:spLocks noGrp="1"/>
          </p:cNvSpPr>
          <p:nvPr>
            <p:ph idx="1"/>
          </p:nvPr>
        </p:nvSpPr>
        <p:spPr>
          <a:xfrm>
            <a:off x="838199" y="1548085"/>
            <a:ext cx="10915185" cy="1567609"/>
          </a:xfrm>
        </p:spPr>
        <p:txBody>
          <a:bodyPr/>
          <a:lstStyle>
            <a:lvl1pPr>
              <a:defRPr>
                <a:gradFill>
                  <a:gsLst>
                    <a:gs pos="0">
                      <a:schemeClr val="bg1">
                        <a:lumMod val="30000"/>
                        <a:lumOff val="70000"/>
                      </a:schemeClr>
                    </a:gs>
                    <a:gs pos="100000">
                      <a:srgbClr val="0E8BAB"/>
                    </a:gs>
                  </a:gsLst>
                  <a:lin ang="0" scaled="1"/>
                </a:gradFill>
              </a:defRPr>
            </a:lvl1pPr>
            <a:lvl2pPr>
              <a:defRPr>
                <a:gradFill>
                  <a:gsLst>
                    <a:gs pos="0">
                      <a:schemeClr val="bg1">
                        <a:lumMod val="30000"/>
                        <a:lumOff val="70000"/>
                      </a:schemeClr>
                    </a:gs>
                    <a:gs pos="100000">
                      <a:srgbClr val="0E8BAB"/>
                    </a:gs>
                  </a:gsLst>
                  <a:lin ang="0" scaled="1"/>
                </a:gradFill>
              </a:defRPr>
            </a:lvl2pPr>
            <a:lvl3pPr>
              <a:defRPr>
                <a:gradFill>
                  <a:gsLst>
                    <a:gs pos="0">
                      <a:schemeClr val="bg1">
                        <a:lumMod val="30000"/>
                        <a:lumOff val="70000"/>
                      </a:schemeClr>
                    </a:gs>
                    <a:gs pos="100000">
                      <a:srgbClr val="0E8BAB"/>
                    </a:gs>
                  </a:gsLst>
                  <a:lin ang="0" scaled="1"/>
                </a:gradFill>
              </a:defRPr>
            </a:lvl3pPr>
            <a:lvl4pPr>
              <a:defRPr>
                <a:gradFill>
                  <a:gsLst>
                    <a:gs pos="0">
                      <a:schemeClr val="bg1">
                        <a:lumMod val="30000"/>
                        <a:lumOff val="70000"/>
                      </a:schemeClr>
                    </a:gs>
                    <a:gs pos="100000">
                      <a:srgbClr val="0E8BAB"/>
                    </a:gs>
                  </a:gsLst>
                  <a:lin ang="0" scaled="1"/>
                </a:gradFill>
              </a:defRPr>
            </a:lvl4pPr>
            <a:lvl5pPr>
              <a:defRPr>
                <a:gradFill>
                  <a:gsLst>
                    <a:gs pos="0">
                      <a:schemeClr val="bg1">
                        <a:lumMod val="30000"/>
                        <a:lumOff val="70000"/>
                      </a:schemeClr>
                    </a:gs>
                    <a:gs pos="100000">
                      <a:srgbClr val="0E8BAB"/>
                    </a:gs>
                  </a:gsLst>
                  <a:lin ang="0" scaled="1"/>
                </a:gra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BE" dirty="0"/>
          </a:p>
        </p:txBody>
      </p:sp>
      <p:sp>
        <p:nvSpPr>
          <p:cNvPr id="9" name="Title 8">
            <a:extLst>
              <a:ext uri="{FF2B5EF4-FFF2-40B4-BE49-F238E27FC236}">
                <a16:creationId xmlns:a16="http://schemas.microsoft.com/office/drawing/2014/main" id="{7DAAD3E1-35C9-DF39-68ED-0909C308B158}"/>
              </a:ext>
            </a:extLst>
          </p:cNvPr>
          <p:cNvSpPr>
            <a:spLocks noGrp="1"/>
          </p:cNvSpPr>
          <p:nvPr>
            <p:ph type="title"/>
          </p:nvPr>
        </p:nvSpPr>
        <p:spPr>
          <a:xfrm>
            <a:off x="0" y="365125"/>
            <a:ext cx="12192000" cy="535531"/>
          </a:xfrm>
        </p:spPr>
        <p:txBody>
          <a:bodyPr wrap="square">
            <a:spAutoFit/>
          </a:bodyPr>
          <a:lstStyle>
            <a:lvl1pPr>
              <a:defRPr lang="en-IE" sz="3200">
                <a:gradFill flip="none" rotWithShape="1">
                  <a:gsLst>
                    <a:gs pos="0">
                      <a:schemeClr val="bg1"/>
                    </a:gs>
                    <a:gs pos="100000">
                      <a:srgbClr val="0E8BAB"/>
                    </a:gs>
                  </a:gsLst>
                  <a:lin ang="10800000" scaled="1"/>
                  <a:tileRect/>
                </a:gradFill>
              </a:defRPr>
            </a:lvl1pPr>
          </a:lstStyle>
          <a:p>
            <a:pPr marL="0" lvl="0" algn="ctr"/>
            <a:r>
              <a:rPr lang="en-GB" dirty="0"/>
              <a:t>Click to edit Master title style</a:t>
            </a:r>
            <a:endParaRPr lang="en-IE" dirty="0"/>
          </a:p>
        </p:txBody>
      </p:sp>
    </p:spTree>
    <p:extLst>
      <p:ext uri="{BB962C8B-B14F-4D97-AF65-F5344CB8AC3E}">
        <p14:creationId xmlns:p14="http://schemas.microsoft.com/office/powerpoint/2010/main" val="20456707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88DEA7C-9158-8621-0078-D89092ADCB61}"/>
              </a:ext>
            </a:extLst>
          </p:cNvPr>
          <p:cNvGrpSpPr/>
          <p:nvPr userDrawn="1"/>
        </p:nvGrpSpPr>
        <p:grpSpPr>
          <a:xfrm>
            <a:off x="0" y="-46496"/>
            <a:ext cx="12192000" cy="6411750"/>
            <a:chOff x="0" y="-2"/>
            <a:chExt cx="11608904" cy="6245080"/>
          </a:xfrm>
        </p:grpSpPr>
        <p:pic>
          <p:nvPicPr>
            <p:cNvPr id="8" name="Image 4">
              <a:extLst>
                <a:ext uri="{FF2B5EF4-FFF2-40B4-BE49-F238E27FC236}">
                  <a16:creationId xmlns:a16="http://schemas.microsoft.com/office/drawing/2014/main" id="{C05BD1C1-F5DA-49E6-8BC1-688B550FC0AC}"/>
                </a:ext>
              </a:extLst>
            </p:cNvPr>
            <p:cNvPicPr>
              <a:picLocks noChangeAspect="1"/>
            </p:cNvPicPr>
            <p:nvPr userDrawn="1"/>
          </p:nvPicPr>
          <p:blipFill rotWithShape="1">
            <a:blip r:embed="rId2"/>
            <a:srcRect l="1844" t="10625" r="52303" b="15190"/>
            <a:stretch/>
          </p:blipFill>
          <p:spPr>
            <a:xfrm>
              <a:off x="0" y="-2"/>
              <a:ext cx="5804452" cy="6245078"/>
            </a:xfrm>
            <a:prstGeom prst="rect">
              <a:avLst/>
            </a:prstGeom>
          </p:spPr>
        </p:pic>
        <p:pic>
          <p:nvPicPr>
            <p:cNvPr id="9" name="Image 4">
              <a:extLst>
                <a:ext uri="{FF2B5EF4-FFF2-40B4-BE49-F238E27FC236}">
                  <a16:creationId xmlns:a16="http://schemas.microsoft.com/office/drawing/2014/main" id="{A76B96BE-4C8A-EAC3-6DA8-70CB48305B46}"/>
                </a:ext>
              </a:extLst>
            </p:cNvPr>
            <p:cNvPicPr>
              <a:picLocks noChangeAspect="1"/>
            </p:cNvPicPr>
            <p:nvPr userDrawn="1"/>
          </p:nvPicPr>
          <p:blipFill rotWithShape="1">
            <a:blip r:embed="rId2"/>
            <a:srcRect l="1844" t="10625" r="52303" b="15190"/>
            <a:stretch/>
          </p:blipFill>
          <p:spPr>
            <a:xfrm flipH="1">
              <a:off x="5804452" y="0"/>
              <a:ext cx="5804452" cy="6245078"/>
            </a:xfrm>
            <a:prstGeom prst="rect">
              <a:avLst/>
            </a:prstGeom>
          </p:spPr>
        </p:pic>
      </p:grpSp>
      <p:grpSp>
        <p:nvGrpSpPr>
          <p:cNvPr id="11" name="Group 10">
            <a:extLst>
              <a:ext uri="{FF2B5EF4-FFF2-40B4-BE49-F238E27FC236}">
                <a16:creationId xmlns:a16="http://schemas.microsoft.com/office/drawing/2014/main" id="{8784DE38-2C3E-983B-2047-490D844A7F6A}"/>
              </a:ext>
            </a:extLst>
          </p:cNvPr>
          <p:cNvGrpSpPr/>
          <p:nvPr userDrawn="1"/>
        </p:nvGrpSpPr>
        <p:grpSpPr>
          <a:xfrm>
            <a:off x="0" y="6338190"/>
            <a:ext cx="12192000" cy="513413"/>
            <a:chOff x="0" y="6338190"/>
            <a:chExt cx="12192000" cy="513413"/>
          </a:xfrm>
        </p:grpSpPr>
        <p:sp>
          <p:nvSpPr>
            <p:cNvPr id="12" name="Rectangle 11">
              <a:extLst>
                <a:ext uri="{FF2B5EF4-FFF2-40B4-BE49-F238E27FC236}">
                  <a16:creationId xmlns:a16="http://schemas.microsoft.com/office/drawing/2014/main" id="{0FD89C6C-2127-19E6-A95E-B2D86F0004FE}"/>
                </a:ext>
              </a:extLst>
            </p:cNvPr>
            <p:cNvSpPr/>
            <p:nvPr userDrawn="1"/>
          </p:nvSpPr>
          <p:spPr>
            <a:xfrm>
              <a:off x="0" y="6338190"/>
              <a:ext cx="12192000" cy="513413"/>
            </a:xfrm>
            <a:prstGeom prst="rect">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14" name="Picture 13" descr="A red letter on a black background&#10;&#10;Description automatically generated with low confidence">
              <a:extLst>
                <a:ext uri="{FF2B5EF4-FFF2-40B4-BE49-F238E27FC236}">
                  <a16:creationId xmlns:a16="http://schemas.microsoft.com/office/drawing/2014/main" id="{650EA641-5ED2-29EE-9877-F15DAA6F7EA3}"/>
                </a:ext>
              </a:extLst>
            </p:cNvPr>
            <p:cNvPicPr>
              <a:picLocks noChangeAspect="1"/>
            </p:cNvPicPr>
            <p:nvPr userDrawn="1"/>
          </p:nvPicPr>
          <p:blipFill>
            <a:blip r:embed="rId3"/>
            <a:stretch>
              <a:fillRect/>
            </a:stretch>
          </p:blipFill>
          <p:spPr>
            <a:xfrm>
              <a:off x="9930549" y="6502558"/>
              <a:ext cx="1727856" cy="276999"/>
            </a:xfrm>
            <a:prstGeom prst="rect">
              <a:avLst/>
            </a:prstGeom>
          </p:spPr>
        </p:pic>
        <p:sp>
          <p:nvSpPr>
            <p:cNvPr id="15" name="Rectangle 14">
              <a:extLst>
                <a:ext uri="{FF2B5EF4-FFF2-40B4-BE49-F238E27FC236}">
                  <a16:creationId xmlns:a16="http://schemas.microsoft.com/office/drawing/2014/main" id="{4119CEB5-1B71-ECD5-199B-57BA93354A37}"/>
                </a:ext>
              </a:extLst>
            </p:cNvPr>
            <p:cNvSpPr/>
            <p:nvPr userDrawn="1"/>
          </p:nvSpPr>
          <p:spPr>
            <a:xfrm>
              <a:off x="5347879" y="6470196"/>
              <a:ext cx="1496242" cy="276999"/>
            </a:xfrm>
            <a:prstGeom prst="rect">
              <a:avLst/>
            </a:prstGeom>
            <a:no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200" b="0" i="0" u="none" strike="noStrike" kern="1200" cap="none" spc="0" normalizeH="0" baseline="0" noProof="0" dirty="0">
                  <a:ln>
                    <a:noFill/>
                  </a:ln>
                  <a:solidFill>
                    <a:srgbClr val="7030A0"/>
                  </a:solidFill>
                  <a:effectLst/>
                  <a:uLnTx/>
                  <a:uFillTx/>
                  <a:latin typeface="+mn-lt"/>
                  <a:ea typeface="+mn-ea"/>
                  <a:cs typeface="+mn-cs"/>
                </a:rPr>
                <a:t>©</a:t>
              </a:r>
              <a:r>
                <a:rPr kumimoji="0" lang="en-IE" sz="1200" b="0" i="0" u="none" strike="noStrike" kern="1200" cap="none" spc="0" normalizeH="0" baseline="0" noProof="0" dirty="0">
                  <a:ln>
                    <a:noFill/>
                  </a:ln>
                  <a:solidFill>
                    <a:srgbClr val="7030A0"/>
                  </a:solidFill>
                  <a:effectLst/>
                  <a:uLnTx/>
                  <a:uFillTx/>
                  <a:latin typeface="+mn-lt"/>
                  <a:ea typeface="+mn-ea"/>
                  <a:cs typeface="+mn-cs"/>
                </a:rPr>
                <a:t> 2024 BearingPoint</a:t>
              </a:r>
            </a:p>
          </p:txBody>
        </p:sp>
      </p:grpSp>
      <p:sp>
        <p:nvSpPr>
          <p:cNvPr id="16" name="Content Placeholder 2">
            <a:extLst>
              <a:ext uri="{FF2B5EF4-FFF2-40B4-BE49-F238E27FC236}">
                <a16:creationId xmlns:a16="http://schemas.microsoft.com/office/drawing/2014/main" id="{587D10C7-B0C0-1C72-CC29-DDD08D16CFC5}"/>
              </a:ext>
            </a:extLst>
          </p:cNvPr>
          <p:cNvSpPr>
            <a:spLocks noGrp="1"/>
          </p:cNvSpPr>
          <p:nvPr>
            <p:ph idx="1"/>
          </p:nvPr>
        </p:nvSpPr>
        <p:spPr>
          <a:xfrm>
            <a:off x="838199" y="1548085"/>
            <a:ext cx="10915185" cy="1567609"/>
          </a:xfrm>
        </p:spPr>
        <p:txBody>
          <a:bodyPr/>
          <a:lstStyle>
            <a:lvl1pPr>
              <a:defRPr>
                <a:gradFill>
                  <a:gsLst>
                    <a:gs pos="0">
                      <a:schemeClr val="bg1"/>
                    </a:gs>
                    <a:gs pos="100000">
                      <a:srgbClr val="0E8BAB">
                        <a:lumMod val="30000"/>
                        <a:lumOff val="70000"/>
                      </a:srgbClr>
                    </a:gs>
                  </a:gsLst>
                  <a:lin ang="0" scaled="1"/>
                </a:gradFill>
              </a:defRPr>
            </a:lvl1pPr>
            <a:lvl2pPr>
              <a:defRPr>
                <a:gradFill>
                  <a:gsLst>
                    <a:gs pos="0">
                      <a:schemeClr val="bg1"/>
                    </a:gs>
                    <a:gs pos="100000">
                      <a:srgbClr val="0E8BAB">
                        <a:lumMod val="30000"/>
                        <a:lumOff val="70000"/>
                      </a:srgbClr>
                    </a:gs>
                  </a:gsLst>
                  <a:lin ang="0" scaled="1"/>
                </a:gradFill>
              </a:defRPr>
            </a:lvl2pPr>
            <a:lvl3pPr>
              <a:defRPr>
                <a:gradFill>
                  <a:gsLst>
                    <a:gs pos="0">
                      <a:schemeClr val="bg1"/>
                    </a:gs>
                    <a:gs pos="100000">
                      <a:srgbClr val="0E8BAB">
                        <a:lumMod val="30000"/>
                        <a:lumOff val="70000"/>
                      </a:srgbClr>
                    </a:gs>
                  </a:gsLst>
                  <a:lin ang="0" scaled="1"/>
                </a:gradFill>
              </a:defRPr>
            </a:lvl3pPr>
            <a:lvl4pPr>
              <a:defRPr>
                <a:gradFill>
                  <a:gsLst>
                    <a:gs pos="0">
                      <a:schemeClr val="bg1"/>
                    </a:gs>
                    <a:gs pos="100000">
                      <a:srgbClr val="0E8BAB">
                        <a:lumMod val="30000"/>
                        <a:lumOff val="70000"/>
                      </a:srgbClr>
                    </a:gs>
                  </a:gsLst>
                  <a:lin ang="0" scaled="1"/>
                </a:gradFill>
              </a:defRPr>
            </a:lvl4pPr>
            <a:lvl5pPr>
              <a:defRPr>
                <a:gradFill>
                  <a:gsLst>
                    <a:gs pos="0">
                      <a:schemeClr val="bg1"/>
                    </a:gs>
                    <a:gs pos="100000">
                      <a:srgbClr val="0E8BAB">
                        <a:lumMod val="30000"/>
                        <a:lumOff val="70000"/>
                      </a:srgbClr>
                    </a:gs>
                  </a:gsLst>
                  <a:lin ang="0" scaled="1"/>
                </a:gra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BE" dirty="0"/>
          </a:p>
        </p:txBody>
      </p:sp>
      <p:pic>
        <p:nvPicPr>
          <p:cNvPr id="6" name="Picture 5">
            <a:extLst>
              <a:ext uri="{FF2B5EF4-FFF2-40B4-BE49-F238E27FC236}">
                <a16:creationId xmlns:a16="http://schemas.microsoft.com/office/drawing/2014/main" id="{B467ED70-660E-BB30-799F-A510E0E6C74F}"/>
              </a:ext>
            </a:extLst>
          </p:cNvPr>
          <p:cNvPicPr>
            <a:picLocks noChangeAspect="1"/>
          </p:cNvPicPr>
          <p:nvPr userDrawn="1"/>
        </p:nvPicPr>
        <p:blipFill>
          <a:blip r:embed="rId4"/>
          <a:stretch>
            <a:fillRect/>
          </a:stretch>
        </p:blipFill>
        <p:spPr>
          <a:xfrm>
            <a:off x="0" y="6375400"/>
            <a:ext cx="2895600" cy="482600"/>
          </a:xfrm>
          <a:prstGeom prst="rect">
            <a:avLst/>
          </a:prstGeom>
        </p:spPr>
      </p:pic>
      <p:sp>
        <p:nvSpPr>
          <p:cNvPr id="7" name="Title 6">
            <a:extLst>
              <a:ext uri="{FF2B5EF4-FFF2-40B4-BE49-F238E27FC236}">
                <a16:creationId xmlns:a16="http://schemas.microsoft.com/office/drawing/2014/main" id="{6B0920F7-8659-2DE2-1A93-B3F8B4961841}"/>
              </a:ext>
            </a:extLst>
          </p:cNvPr>
          <p:cNvSpPr>
            <a:spLocks noGrp="1"/>
          </p:cNvSpPr>
          <p:nvPr>
            <p:ph type="title"/>
          </p:nvPr>
        </p:nvSpPr>
        <p:spPr>
          <a:xfrm>
            <a:off x="838200" y="365125"/>
            <a:ext cx="10515600" cy="424732"/>
          </a:xfrm>
        </p:spPr>
        <p:txBody>
          <a:bodyPr wrap="square">
            <a:spAutoFit/>
          </a:bodyPr>
          <a:lstStyle>
            <a:lvl1pPr>
              <a:defRPr lang="en-IE" sz="2400">
                <a:gradFill flip="none" rotWithShape="1">
                  <a:gsLst>
                    <a:gs pos="0">
                      <a:schemeClr val="bg1"/>
                    </a:gs>
                    <a:gs pos="100000">
                      <a:srgbClr val="0E8BAB"/>
                    </a:gs>
                  </a:gsLst>
                  <a:lin ang="10800000" scaled="1"/>
                  <a:tileRect/>
                </a:gradFill>
              </a:defRPr>
            </a:lvl1pPr>
          </a:lstStyle>
          <a:p>
            <a:pPr lvl="0"/>
            <a:r>
              <a:rPr lang="en-GB" dirty="0"/>
              <a:t>Click to edit Master title style</a:t>
            </a:r>
            <a:endParaRPr lang="en-IE" dirty="0"/>
          </a:p>
        </p:txBody>
      </p:sp>
    </p:spTree>
    <p:extLst>
      <p:ext uri="{BB962C8B-B14F-4D97-AF65-F5344CB8AC3E}">
        <p14:creationId xmlns:p14="http://schemas.microsoft.com/office/powerpoint/2010/main" val="15487727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Blank">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0AC6B6BD-AA56-EE56-77B6-52A24380F903}"/>
              </a:ext>
            </a:extLst>
          </p:cNvPr>
          <p:cNvSpPr/>
          <p:nvPr userDrawn="1"/>
        </p:nvSpPr>
        <p:spPr>
          <a:xfrm>
            <a:off x="5347083" y="6411748"/>
            <a:ext cx="149624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200" b="0" i="0" u="none" strike="noStrike" kern="1200" cap="none" spc="0" normalizeH="0" baseline="0" noProof="0" dirty="0">
                <a:ln>
                  <a:noFill/>
                </a:ln>
                <a:solidFill>
                  <a:srgbClr val="74009B"/>
                </a:solidFill>
                <a:effectLst/>
                <a:uLnTx/>
                <a:uFillTx/>
                <a:latin typeface="+mn-lt"/>
                <a:ea typeface="+mn-ea"/>
                <a:cs typeface="+mn-cs"/>
              </a:rPr>
              <a:t>©</a:t>
            </a:r>
            <a:r>
              <a:rPr kumimoji="0" lang="en-IE" sz="1200" b="0" i="0" u="none" strike="noStrike" kern="1200" cap="none" spc="0" normalizeH="0" baseline="0" noProof="0" dirty="0">
                <a:ln>
                  <a:noFill/>
                </a:ln>
                <a:solidFill>
                  <a:srgbClr val="74009B"/>
                </a:solidFill>
                <a:effectLst/>
                <a:uLnTx/>
                <a:uFillTx/>
                <a:latin typeface="+mn-lt"/>
                <a:ea typeface="+mn-ea"/>
                <a:cs typeface="+mn-cs"/>
              </a:rPr>
              <a:t> 2024 BearingPoint</a:t>
            </a:r>
          </a:p>
        </p:txBody>
      </p:sp>
      <p:grpSp>
        <p:nvGrpSpPr>
          <p:cNvPr id="4" name="Group 3">
            <a:extLst>
              <a:ext uri="{FF2B5EF4-FFF2-40B4-BE49-F238E27FC236}">
                <a16:creationId xmlns:a16="http://schemas.microsoft.com/office/drawing/2014/main" id="{482A02E9-E028-6430-2D3F-2F0EE0618577}"/>
              </a:ext>
            </a:extLst>
          </p:cNvPr>
          <p:cNvGrpSpPr/>
          <p:nvPr userDrawn="1"/>
        </p:nvGrpSpPr>
        <p:grpSpPr>
          <a:xfrm>
            <a:off x="0" y="-46496"/>
            <a:ext cx="12192000" cy="6411750"/>
            <a:chOff x="0" y="-2"/>
            <a:chExt cx="11608904" cy="6245080"/>
          </a:xfrm>
        </p:grpSpPr>
        <p:pic>
          <p:nvPicPr>
            <p:cNvPr id="2" name="Image 4">
              <a:extLst>
                <a:ext uri="{FF2B5EF4-FFF2-40B4-BE49-F238E27FC236}">
                  <a16:creationId xmlns:a16="http://schemas.microsoft.com/office/drawing/2014/main" id="{21C91832-CB34-6EF0-3474-3E222BEEE2EA}"/>
                </a:ext>
              </a:extLst>
            </p:cNvPr>
            <p:cNvPicPr>
              <a:picLocks noChangeAspect="1"/>
            </p:cNvPicPr>
            <p:nvPr userDrawn="1"/>
          </p:nvPicPr>
          <p:blipFill rotWithShape="1">
            <a:blip r:embed="rId2"/>
            <a:srcRect l="1844" t="10625" r="52303" b="15190"/>
            <a:stretch/>
          </p:blipFill>
          <p:spPr>
            <a:xfrm>
              <a:off x="0" y="-2"/>
              <a:ext cx="5804452" cy="6245078"/>
            </a:xfrm>
            <a:prstGeom prst="rect">
              <a:avLst/>
            </a:prstGeom>
          </p:spPr>
        </p:pic>
        <p:pic>
          <p:nvPicPr>
            <p:cNvPr id="3" name="Image 4">
              <a:extLst>
                <a:ext uri="{FF2B5EF4-FFF2-40B4-BE49-F238E27FC236}">
                  <a16:creationId xmlns:a16="http://schemas.microsoft.com/office/drawing/2014/main" id="{E7923DC3-85ED-6125-AC46-6E89469676CB}"/>
                </a:ext>
              </a:extLst>
            </p:cNvPr>
            <p:cNvPicPr>
              <a:picLocks noChangeAspect="1"/>
            </p:cNvPicPr>
            <p:nvPr userDrawn="1"/>
          </p:nvPicPr>
          <p:blipFill rotWithShape="1">
            <a:blip r:embed="rId2"/>
            <a:srcRect l="1844" t="10625" r="52303" b="15190"/>
            <a:stretch/>
          </p:blipFill>
          <p:spPr>
            <a:xfrm flipH="1">
              <a:off x="5804452" y="0"/>
              <a:ext cx="5804452" cy="6245078"/>
            </a:xfrm>
            <a:prstGeom prst="rect">
              <a:avLst/>
            </a:prstGeom>
          </p:spPr>
        </p:pic>
      </p:grpSp>
      <p:sp>
        <p:nvSpPr>
          <p:cNvPr id="5" name="Title 4">
            <a:extLst>
              <a:ext uri="{FF2B5EF4-FFF2-40B4-BE49-F238E27FC236}">
                <a16:creationId xmlns:a16="http://schemas.microsoft.com/office/drawing/2014/main" id="{616517EE-F4FB-2360-2CE7-96A495B055C6}"/>
              </a:ext>
            </a:extLst>
          </p:cNvPr>
          <p:cNvSpPr>
            <a:spLocks noGrp="1"/>
          </p:cNvSpPr>
          <p:nvPr>
            <p:ph type="title"/>
          </p:nvPr>
        </p:nvSpPr>
        <p:spPr>
          <a:xfrm>
            <a:off x="838200" y="365125"/>
            <a:ext cx="10515600" cy="424732"/>
          </a:xfrm>
        </p:spPr>
        <p:txBody>
          <a:bodyPr wrap="square">
            <a:spAutoFit/>
          </a:bodyPr>
          <a:lstStyle>
            <a:lvl1pPr>
              <a:defRPr lang="en-IE" sz="2400">
                <a:gradFill flip="none" rotWithShape="1">
                  <a:gsLst>
                    <a:gs pos="0">
                      <a:schemeClr val="bg1"/>
                    </a:gs>
                    <a:gs pos="100000">
                      <a:srgbClr val="0E8BAB"/>
                    </a:gs>
                  </a:gsLst>
                  <a:lin ang="10800000" scaled="1"/>
                  <a:tileRect/>
                </a:gradFill>
              </a:defRPr>
            </a:lvl1pPr>
          </a:lstStyle>
          <a:p>
            <a:pPr lvl="0"/>
            <a:r>
              <a:rPr lang="en-GB" dirty="0"/>
              <a:t>Click to edit Master title style</a:t>
            </a:r>
            <a:endParaRPr lang="en-IE" dirty="0"/>
          </a:p>
        </p:txBody>
      </p:sp>
    </p:spTree>
    <p:extLst>
      <p:ext uri="{BB962C8B-B14F-4D97-AF65-F5344CB8AC3E}">
        <p14:creationId xmlns:p14="http://schemas.microsoft.com/office/powerpoint/2010/main" val="16164613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8302A6-96B5-B84A-9FBA-A6FC574C611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BE"/>
          </a:p>
        </p:txBody>
      </p:sp>
      <p:sp>
        <p:nvSpPr>
          <p:cNvPr id="3" name="Subtitle 2">
            <a:extLst>
              <a:ext uri="{FF2B5EF4-FFF2-40B4-BE49-F238E27FC236}">
                <a16:creationId xmlns:a16="http://schemas.microsoft.com/office/drawing/2014/main" id="{320DAF73-0798-CB48-945B-5156AE331F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BE"/>
          </a:p>
        </p:txBody>
      </p:sp>
    </p:spTree>
    <p:extLst>
      <p:ext uri="{BB962C8B-B14F-4D97-AF65-F5344CB8AC3E}">
        <p14:creationId xmlns:p14="http://schemas.microsoft.com/office/powerpoint/2010/main" val="10220798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3.tiff"/><Relationship Id="rId4" Type="http://schemas.openxmlformats.org/officeDocument/2006/relationships/slideLayout" Target="../slideLayouts/slideLayout4.xml"/><Relationship Id="rId9"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B2230DC-790A-C94C-871B-933BAFB8A069}"/>
              </a:ext>
            </a:extLst>
          </p:cNvPr>
          <p:cNvSpPr>
            <a:spLocks noGrp="1"/>
          </p:cNvSpPr>
          <p:nvPr>
            <p:ph type="title"/>
          </p:nvPr>
        </p:nvSpPr>
        <p:spPr>
          <a:xfrm>
            <a:off x="838200" y="365125"/>
            <a:ext cx="10515600" cy="369332"/>
          </a:xfrm>
          <a:prstGeom prst="rect">
            <a:avLst/>
          </a:prstGeom>
        </p:spPr>
        <p:txBody>
          <a:bodyPr wrap="square">
            <a:spAutoFit/>
          </a:bodyPr>
          <a:lstStyle/>
          <a:p>
            <a:pPr marL="0" lvl="0"/>
            <a:r>
              <a:rPr lang="en-GB"/>
              <a:t>Click to edit Master title style</a:t>
            </a:r>
            <a:endParaRPr lang="en-BE"/>
          </a:p>
        </p:txBody>
      </p:sp>
      <p:sp>
        <p:nvSpPr>
          <p:cNvPr id="3" name="Text Placeholder 2">
            <a:extLst>
              <a:ext uri="{FF2B5EF4-FFF2-40B4-BE49-F238E27FC236}">
                <a16:creationId xmlns:a16="http://schemas.microsoft.com/office/drawing/2014/main" id="{7D9C87BE-45B8-8444-AF7B-0F2EC068916C}"/>
              </a:ext>
            </a:extLst>
          </p:cNvPr>
          <p:cNvSpPr>
            <a:spLocks noGrp="1"/>
          </p:cNvSpPr>
          <p:nvPr>
            <p:ph type="body" idx="1"/>
          </p:nvPr>
        </p:nvSpPr>
        <p:spPr>
          <a:xfrm>
            <a:off x="838200" y="1085621"/>
            <a:ext cx="10515600" cy="1567609"/>
          </a:xfrm>
          <a:prstGeom prst="rect">
            <a:avLst/>
          </a:prstGeom>
        </p:spPr>
        <p:txBody>
          <a:bodyPr wrap="square">
            <a:spAutoFit/>
          </a:bodyPr>
          <a:lstStyle/>
          <a:p>
            <a:pPr marL="0" lvl="0">
              <a:spcBef>
                <a:spcPct val="0"/>
              </a:spcBef>
              <a:buNone/>
            </a:pPr>
            <a:r>
              <a:rPr lang="en-IE" noProof="0"/>
              <a:t>Click to edit Master text styles</a:t>
            </a:r>
          </a:p>
          <a:p>
            <a:pPr lvl="1"/>
            <a:r>
              <a:rPr lang="en-IE" noProof="0"/>
              <a:t>Second level</a:t>
            </a:r>
          </a:p>
          <a:p>
            <a:pPr lvl="2"/>
            <a:r>
              <a:rPr lang="en-IE" noProof="0"/>
              <a:t>Third level</a:t>
            </a:r>
          </a:p>
          <a:p>
            <a:pPr lvl="3"/>
            <a:r>
              <a:rPr lang="en-IE" noProof="0"/>
              <a:t>Fourth level</a:t>
            </a:r>
          </a:p>
          <a:p>
            <a:pPr lvl="4"/>
            <a:r>
              <a:rPr lang="en-IE" noProof="0"/>
              <a:t>Fifth level</a:t>
            </a:r>
          </a:p>
        </p:txBody>
      </p:sp>
      <p:pic>
        <p:nvPicPr>
          <p:cNvPr id="8" name="Graphic 22">
            <a:extLst>
              <a:ext uri="{FF2B5EF4-FFF2-40B4-BE49-F238E27FC236}">
                <a16:creationId xmlns:a16="http://schemas.microsoft.com/office/drawing/2014/main" id="{6AE6F794-2198-0C48-B06C-03B7219A7DC4}"/>
              </a:ext>
            </a:extLst>
          </p:cNvPr>
          <p:cNvPicPr>
            <a:picLocks noChangeAspect="1"/>
          </p:cNvPicPr>
          <p:nvPr userDrawn="1"/>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919752" y="6401862"/>
            <a:ext cx="1854270" cy="296770"/>
          </a:xfrm>
          <a:prstGeom prst="rect">
            <a:avLst/>
          </a:prstGeom>
        </p:spPr>
      </p:pic>
      <p:sp>
        <p:nvSpPr>
          <p:cNvPr id="4" name="Rectangle 3">
            <a:extLst>
              <a:ext uri="{FF2B5EF4-FFF2-40B4-BE49-F238E27FC236}">
                <a16:creationId xmlns:a16="http://schemas.microsoft.com/office/drawing/2014/main" id="{E16F5DD7-807A-9D82-61B4-766013691AAF}"/>
              </a:ext>
            </a:extLst>
          </p:cNvPr>
          <p:cNvSpPr/>
          <p:nvPr userDrawn="1"/>
        </p:nvSpPr>
        <p:spPr>
          <a:xfrm>
            <a:off x="5347083" y="6411748"/>
            <a:ext cx="1496242" cy="27699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BE" sz="1200" b="0" i="0" u="none" strike="noStrike" kern="1200" cap="none" spc="0" normalizeH="0" baseline="0" noProof="0" dirty="0">
                <a:ln>
                  <a:noFill/>
                </a:ln>
                <a:solidFill>
                  <a:srgbClr val="74009B"/>
                </a:solidFill>
                <a:effectLst/>
                <a:uLnTx/>
                <a:uFillTx/>
                <a:latin typeface="+mn-lt"/>
                <a:ea typeface="+mn-ea"/>
                <a:cs typeface="+mn-cs"/>
              </a:rPr>
              <a:t>©</a:t>
            </a:r>
            <a:r>
              <a:rPr kumimoji="0" lang="en-IE" sz="1200" b="0" i="0" u="none" strike="noStrike" kern="1200" cap="none" spc="0" normalizeH="0" baseline="0" noProof="0" dirty="0">
                <a:ln>
                  <a:noFill/>
                </a:ln>
                <a:solidFill>
                  <a:srgbClr val="74009B"/>
                </a:solidFill>
                <a:effectLst/>
                <a:uLnTx/>
                <a:uFillTx/>
                <a:latin typeface="+mn-lt"/>
                <a:ea typeface="+mn-ea"/>
                <a:cs typeface="+mn-cs"/>
              </a:rPr>
              <a:t> 2024 BearingPoint</a:t>
            </a:r>
          </a:p>
        </p:txBody>
      </p:sp>
      <p:pic>
        <p:nvPicPr>
          <p:cNvPr id="5" name="Picture 4">
            <a:extLst>
              <a:ext uri="{FF2B5EF4-FFF2-40B4-BE49-F238E27FC236}">
                <a16:creationId xmlns:a16="http://schemas.microsoft.com/office/drawing/2014/main" id="{51F95822-C0D4-60A1-5942-38AE5F798AC4}"/>
              </a:ext>
            </a:extLst>
          </p:cNvPr>
          <p:cNvPicPr>
            <a:picLocks noChangeAspect="1"/>
          </p:cNvPicPr>
          <p:nvPr userDrawn="1"/>
        </p:nvPicPr>
        <p:blipFill>
          <a:blip r:embed="rId10"/>
          <a:stretch>
            <a:fillRect/>
          </a:stretch>
        </p:blipFill>
        <p:spPr>
          <a:xfrm>
            <a:off x="0" y="6375400"/>
            <a:ext cx="2895600" cy="482600"/>
          </a:xfrm>
          <a:prstGeom prst="rect">
            <a:avLst/>
          </a:prstGeom>
        </p:spPr>
      </p:pic>
    </p:spTree>
    <p:extLst>
      <p:ext uri="{BB962C8B-B14F-4D97-AF65-F5344CB8AC3E}">
        <p14:creationId xmlns:p14="http://schemas.microsoft.com/office/powerpoint/2010/main" val="1308088195"/>
      </p:ext>
    </p:extLst>
  </p:cSld>
  <p:clrMap bg1="lt1" tx1="dk1" bg2="lt2" tx2="dk2" accent1="accent1" accent2="accent2" accent3="accent3" accent4="accent4" accent5="accent5" accent6="accent6" hlink="hlink" folHlink="folHlink"/>
  <p:sldLayoutIdLst>
    <p:sldLayoutId id="2147483656" r:id="rId1"/>
    <p:sldLayoutId id="2147483672" r:id="rId2"/>
    <p:sldLayoutId id="2147483671" r:id="rId3"/>
    <p:sldLayoutId id="2147483670" r:id="rId4"/>
    <p:sldLayoutId id="2147483669" r:id="rId5"/>
    <p:sldLayoutId id="2147483649" r:id="rId6"/>
  </p:sldLayoutIdLst>
  <p:txStyles>
    <p:titleStyle>
      <a:lvl1pPr algn="l" defTabSz="914400" rtl="0" eaLnBrk="1" latinLnBrk="0" hangingPunct="1">
        <a:lnSpc>
          <a:spcPct val="90000"/>
        </a:lnSpc>
        <a:spcBef>
          <a:spcPct val="0"/>
        </a:spcBef>
        <a:buNone/>
        <a:defRPr lang="en-BE" sz="2000" kern="1200">
          <a:gradFill flip="none" rotWithShape="1">
            <a:gsLst>
              <a:gs pos="0">
                <a:srgbClr val="6C03A8"/>
              </a:gs>
              <a:gs pos="100000">
                <a:srgbClr val="0E8BAB"/>
              </a:gs>
            </a:gsLst>
            <a:lin ang="0" scaled="1"/>
            <a:tileRect/>
          </a:gradFill>
          <a:latin typeface="BearingPoint Sans L + C" pitchFamily="2" charset="77"/>
          <a:ea typeface="+mn-ea"/>
          <a:cs typeface="+mn-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GB" sz="2000" kern="1200">
          <a:gradFill flip="none" rotWithShape="1">
            <a:gsLst>
              <a:gs pos="0">
                <a:srgbClr val="6C03A8"/>
              </a:gs>
              <a:gs pos="100000">
                <a:srgbClr val="0E8BAB"/>
              </a:gs>
            </a:gsLst>
            <a:lin ang="0" scaled="1"/>
            <a:tileRect/>
          </a:gradFill>
          <a:latin typeface="BearingPoint Sans L + C"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lang="en-GB" sz="1600" kern="1200" dirty="0">
          <a:solidFill>
            <a:schemeClr val="tx1"/>
          </a:solidFill>
          <a:latin typeface="Lato" panose="020F0502020204030203" pitchFamily="34" charset="0"/>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lang="en-BE" sz="1600" kern="1200" dirty="0">
          <a:solidFill>
            <a:schemeClr val="tx1"/>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 Id="rId4" Type="http://schemas.openxmlformats.org/officeDocument/2006/relationships/hyperlink" Target="https://data.consilium.europa.eu/doc/document/ST-5662-2024-INIT/en/pdf"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xml"/><Relationship Id="rId4" Type="http://schemas.openxmlformats.org/officeDocument/2006/relationships/hyperlink" Target="https://data.consilium.europa.eu/doc/document/ST-5662-2024-INIT/en/pdf"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5.png"/><Relationship Id="rId1" Type="http://schemas.openxmlformats.org/officeDocument/2006/relationships/slideLayout" Target="../slideLayouts/slideLayout4.xml"/><Relationship Id="rId5" Type="http://schemas.openxmlformats.org/officeDocument/2006/relationships/image" Target="../media/image36.tiff"/><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40.tiff"/><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11.tiff"/><Relationship Id="rId4" Type="http://schemas.openxmlformats.org/officeDocument/2006/relationships/image" Target="../media/image10.emf"/></Relationships>
</file>

<file path=ppt/slides/_rels/slide2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hyperlink" Target="https://toppng.com/show_download/212058/cogs-gear-icon-vector/large" TargetMode="External"/><Relationship Id="rId3" Type="http://schemas.microsoft.com/office/2007/relationships/hdphoto" Target="../media/hdphoto1.wdp"/><Relationship Id="rId7" Type="http://schemas.openxmlformats.org/officeDocument/2006/relationships/hyperlink" Target="https://www.pinclipart.com/downpngs/ihoJwi_svg-royalty-free-arrows-clipart-black-and-white/" TargetMode="External"/><Relationship Id="rId12" Type="http://schemas.microsoft.com/office/2007/relationships/hdphoto" Target="../media/hdphoto4.wdp"/><Relationship Id="rId17" Type="http://schemas.microsoft.com/office/2007/relationships/hdphoto" Target="../media/hdphoto6.wdp"/><Relationship Id="rId2" Type="http://schemas.openxmlformats.org/officeDocument/2006/relationships/image" Target="../media/image43.png"/><Relationship Id="rId16" Type="http://schemas.openxmlformats.org/officeDocument/2006/relationships/image" Target="../media/image48.png"/><Relationship Id="rId1" Type="http://schemas.openxmlformats.org/officeDocument/2006/relationships/slideLayout" Target="../slideLayouts/slideLayout4.xml"/><Relationship Id="rId6" Type="http://schemas.microsoft.com/office/2007/relationships/hdphoto" Target="../media/hdphoto2.wdp"/><Relationship Id="rId11" Type="http://schemas.openxmlformats.org/officeDocument/2006/relationships/image" Target="../media/image46.png"/><Relationship Id="rId5" Type="http://schemas.openxmlformats.org/officeDocument/2006/relationships/image" Target="../media/image44.png"/><Relationship Id="rId15" Type="http://schemas.microsoft.com/office/2007/relationships/hdphoto" Target="../media/hdphoto5.wdp"/><Relationship Id="rId10" Type="http://schemas.openxmlformats.org/officeDocument/2006/relationships/hyperlink" Target="https://www.iconfinder.com/icons/3244696/balance_equal_equality_fairness_justice_icon" TargetMode="External"/><Relationship Id="rId4" Type="http://schemas.openxmlformats.org/officeDocument/2006/relationships/hyperlink" Target="https://www.vecteezy.com/vector-art/2567170-puzzle-game-pieces-line-style-icon" TargetMode="External"/><Relationship Id="rId9" Type="http://schemas.microsoft.com/office/2007/relationships/hdphoto" Target="../media/hdphoto3.wdp"/><Relationship Id="rId14" Type="http://schemas.openxmlformats.org/officeDocument/2006/relationships/image" Target="../media/image47.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0.jpeg"/><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xml"/><Relationship Id="rId5" Type="http://schemas.openxmlformats.org/officeDocument/2006/relationships/image" Target="../media/image30.png"/><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6.xml"/><Relationship Id="rId5" Type="http://schemas.openxmlformats.org/officeDocument/2006/relationships/image" Target="../media/image57.png"/><Relationship Id="rId4" Type="http://schemas.openxmlformats.org/officeDocument/2006/relationships/image" Target="../media/image56.png"/></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5.xml"/><Relationship Id="rId1" Type="http://schemas.openxmlformats.org/officeDocument/2006/relationships/video" Target="https://www.youtube.com/embed/ph80yauV3TQ?feature=oembed" TargetMode="Externa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diagramColors" Target="../diagrams/colors1.xml"/><Relationship Id="rId3" Type="http://schemas.openxmlformats.org/officeDocument/2006/relationships/image" Target="../media/image20.jpeg"/><Relationship Id="rId7" Type="http://schemas.openxmlformats.org/officeDocument/2006/relationships/image" Target="../media/image24.png"/><Relationship Id="rId12" Type="http://schemas.openxmlformats.org/officeDocument/2006/relationships/diagramQuickStyle" Target="../diagrams/quickStyle1.xml"/><Relationship Id="rId2" Type="http://schemas.openxmlformats.org/officeDocument/2006/relationships/notesSlide" Target="../notesSlides/notesSlide2.xml"/><Relationship Id="rId16" Type="http://schemas.openxmlformats.org/officeDocument/2006/relationships/image" Target="../media/image28.png"/><Relationship Id="rId1" Type="http://schemas.openxmlformats.org/officeDocument/2006/relationships/slideLayout" Target="../slideLayouts/slideLayout5.xml"/><Relationship Id="rId6" Type="http://schemas.openxmlformats.org/officeDocument/2006/relationships/image" Target="../media/image23.png"/><Relationship Id="rId11" Type="http://schemas.openxmlformats.org/officeDocument/2006/relationships/diagramLayout" Target="../diagrams/layout1.xml"/><Relationship Id="rId5" Type="http://schemas.openxmlformats.org/officeDocument/2006/relationships/image" Target="../media/image22.png"/><Relationship Id="rId15" Type="http://schemas.openxmlformats.org/officeDocument/2006/relationships/image" Target="../media/image27.png"/><Relationship Id="rId10" Type="http://schemas.openxmlformats.org/officeDocument/2006/relationships/diagramData" Target="../diagrams/data1.xml"/><Relationship Id="rId4" Type="http://schemas.openxmlformats.org/officeDocument/2006/relationships/image" Target="../media/image21.png"/><Relationship Id="rId9" Type="http://schemas.openxmlformats.org/officeDocument/2006/relationships/image" Target="../media/image26.png"/><Relationship Id="rId14"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hyperlink" Target="https://data.consilium.europa.eu/doc/document/ST-5662-2024-INIT/en/pdf" TargetMode="Externa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 Id="rId4" Type="http://schemas.openxmlformats.org/officeDocument/2006/relationships/hyperlink" Target="https://data.consilium.europa.eu/doc/document/ST-5662-2024-INIT/en/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B232A8-5459-2CF6-D9CC-10DDC90BB5A6}"/>
              </a:ext>
            </a:extLst>
          </p:cNvPr>
          <p:cNvSpPr/>
          <p:nvPr/>
        </p:nvSpPr>
        <p:spPr>
          <a:xfrm>
            <a:off x="554661" y="1264493"/>
            <a:ext cx="7133072" cy="1384995"/>
          </a:xfrm>
          <a:prstGeom prst="rect">
            <a:avLst/>
          </a:prstGeom>
          <a:noFill/>
        </p:spPr>
        <p:txBody>
          <a:bodyPr wrap="square" rtlCol="0">
            <a:spAutoFit/>
          </a:bodyPr>
          <a:lstStyle/>
          <a:p>
            <a: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t>DATA GOVERNANCE </a:t>
            </a:r>
            <a:b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br>
            <a: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t>A KEYSTONE FOR </a:t>
            </a:r>
            <a:b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br>
            <a: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t>COMPLIANT AI AND DIGITAL TRUST </a:t>
            </a:r>
          </a:p>
        </p:txBody>
      </p:sp>
      <p:sp>
        <p:nvSpPr>
          <p:cNvPr id="3" name="Rectangle 2">
            <a:extLst>
              <a:ext uri="{FF2B5EF4-FFF2-40B4-BE49-F238E27FC236}">
                <a16:creationId xmlns:a16="http://schemas.microsoft.com/office/drawing/2014/main" id="{D194C8F8-1BC6-3D6F-5848-FC0F710D8F16}"/>
              </a:ext>
            </a:extLst>
          </p:cNvPr>
          <p:cNvSpPr/>
          <p:nvPr/>
        </p:nvSpPr>
        <p:spPr>
          <a:xfrm>
            <a:off x="554661" y="4418596"/>
            <a:ext cx="6445051" cy="400110"/>
          </a:xfrm>
          <a:prstGeom prst="rect">
            <a:avLst/>
          </a:prstGeom>
        </p:spPr>
        <p:txBody>
          <a:bodyPr wrap="square" lIns="91440" tIns="45720" rIns="91440" bIns="45720" anchor="t">
            <a:spAutoFit/>
          </a:bodyPr>
          <a:lstStyle/>
          <a:p>
            <a:r>
              <a:rPr lang="en-GB" sz="2000" dirty="0">
                <a:gradFill flip="none" rotWithShape="1">
                  <a:gsLst>
                    <a:gs pos="0">
                      <a:schemeClr val="bg1"/>
                    </a:gs>
                    <a:gs pos="100000">
                      <a:srgbClr val="0E8BAB"/>
                    </a:gs>
                  </a:gsLst>
                  <a:lin ang="10800000" scaled="1"/>
                  <a:tileRect/>
                </a:gradFill>
                <a:latin typeface="Lato"/>
                <a:ea typeface="Lato"/>
                <a:cs typeface="Lato"/>
              </a:rPr>
              <a:t>March 27</a:t>
            </a:r>
            <a:r>
              <a:rPr lang="en-GB" sz="2000" baseline="30000" dirty="0">
                <a:gradFill flip="none" rotWithShape="1">
                  <a:gsLst>
                    <a:gs pos="0">
                      <a:schemeClr val="bg1"/>
                    </a:gs>
                    <a:gs pos="100000">
                      <a:srgbClr val="0E8BAB"/>
                    </a:gs>
                  </a:gsLst>
                  <a:lin ang="10800000" scaled="1"/>
                  <a:tileRect/>
                </a:gradFill>
                <a:latin typeface="Lato"/>
                <a:ea typeface="Lato"/>
                <a:cs typeface="Lato"/>
              </a:rPr>
              <a:t>th</a:t>
            </a:r>
            <a:r>
              <a:rPr lang="en-GB" sz="2000" dirty="0">
                <a:gradFill flip="none" rotWithShape="1">
                  <a:gsLst>
                    <a:gs pos="0">
                      <a:schemeClr val="bg1"/>
                    </a:gs>
                    <a:gs pos="100000">
                      <a:srgbClr val="0E8BAB"/>
                    </a:gs>
                  </a:gsLst>
                  <a:lin ang="10800000" scaled="1"/>
                  <a:tileRect/>
                </a:gradFill>
                <a:latin typeface="Lato"/>
                <a:ea typeface="Lato"/>
                <a:cs typeface="Lato"/>
              </a:rPr>
              <a:t>, 2024</a:t>
            </a:r>
          </a:p>
        </p:txBody>
      </p:sp>
      <p:sp>
        <p:nvSpPr>
          <p:cNvPr id="4" name="Rectangle 3">
            <a:extLst>
              <a:ext uri="{FF2B5EF4-FFF2-40B4-BE49-F238E27FC236}">
                <a16:creationId xmlns:a16="http://schemas.microsoft.com/office/drawing/2014/main" id="{A501EB85-295B-BB56-78A9-6A23E809E587}"/>
              </a:ext>
            </a:extLst>
          </p:cNvPr>
          <p:cNvSpPr/>
          <p:nvPr/>
        </p:nvSpPr>
        <p:spPr>
          <a:xfrm>
            <a:off x="554661" y="4885621"/>
            <a:ext cx="6829778" cy="707886"/>
          </a:xfrm>
          <a:prstGeom prst="rect">
            <a:avLst/>
          </a:prstGeom>
        </p:spPr>
        <p:txBody>
          <a:bodyPr wrap="square">
            <a:spAutoFit/>
          </a:bodyPr>
          <a:lstStyle/>
          <a:p>
            <a:r>
              <a:rPr lang="en-GB" sz="2000">
                <a:gradFill flip="none" rotWithShape="1">
                  <a:gsLst>
                    <a:gs pos="0">
                      <a:schemeClr val="bg1"/>
                    </a:gs>
                    <a:gs pos="100000">
                      <a:srgbClr val="0E8BAB"/>
                    </a:gs>
                  </a:gsLst>
                  <a:lin ang="0" scaled="1"/>
                  <a:tileRect/>
                </a:gradFill>
                <a:latin typeface="Lato" panose="020F0502020204030203" pitchFamily="34" charset="0"/>
                <a:ea typeface="Lato" panose="020F0502020204030203" pitchFamily="34" charset="0"/>
                <a:cs typeface="Lato" panose="020F0502020204030203" pitchFamily="34" charset="0"/>
              </a:rPr>
              <a:t>Jan Henderyckx</a:t>
            </a:r>
          </a:p>
          <a:p>
            <a:r>
              <a:rPr lang="en-GB" sz="2000">
                <a:gradFill flip="none" rotWithShape="1">
                  <a:gsLst>
                    <a:gs pos="0">
                      <a:schemeClr val="bg1"/>
                    </a:gs>
                    <a:gs pos="100000">
                      <a:srgbClr val="0E8BAB"/>
                    </a:gs>
                  </a:gsLst>
                  <a:lin ang="0" scaled="1"/>
                  <a:tileRect/>
                </a:gradFill>
                <a:latin typeface="Lato" panose="020F0502020204030203" pitchFamily="34" charset="0"/>
                <a:ea typeface="Lato" panose="020F0502020204030203" pitchFamily="34" charset="0"/>
                <a:cs typeface="Lato" panose="020F0502020204030203" pitchFamily="34" charset="0"/>
              </a:rPr>
              <a:t>Partner</a:t>
            </a:r>
            <a:endParaRPr lang="en-BE" sz="2000">
              <a:gradFill flip="none" rotWithShape="1">
                <a:gsLst>
                  <a:gs pos="0">
                    <a:schemeClr val="bg1"/>
                  </a:gs>
                  <a:gs pos="100000">
                    <a:srgbClr val="0E8BAB"/>
                  </a:gs>
                </a:gsLst>
                <a:lin ang="0" scaled="1"/>
                <a:tileRect/>
              </a:gradFill>
              <a:latin typeface="Lato" panose="020F0502020204030203" pitchFamily="34" charset="0"/>
              <a:ea typeface="Lato" panose="020F0502020204030203" pitchFamily="34" charset="0"/>
              <a:cs typeface="Lato" panose="020F0502020204030203" pitchFamily="34" charset="0"/>
            </a:endParaRPr>
          </a:p>
        </p:txBody>
      </p:sp>
      <p:pic>
        <p:nvPicPr>
          <p:cNvPr id="6" name="Picture 5">
            <a:extLst>
              <a:ext uri="{FF2B5EF4-FFF2-40B4-BE49-F238E27FC236}">
                <a16:creationId xmlns:a16="http://schemas.microsoft.com/office/drawing/2014/main" id="{DB101C63-762B-7B4F-9EC0-18D6F0264418}"/>
              </a:ext>
            </a:extLst>
          </p:cNvPr>
          <p:cNvPicPr>
            <a:picLocks noChangeAspect="1"/>
          </p:cNvPicPr>
          <p:nvPr/>
        </p:nvPicPr>
        <p:blipFill rotWithShape="1">
          <a:blip r:embed="rId2">
            <a:alphaModFix amt="60000"/>
          </a:blip>
          <a:srcRect r="35205"/>
          <a:stretch/>
        </p:blipFill>
        <p:spPr>
          <a:xfrm>
            <a:off x="8145050" y="0"/>
            <a:ext cx="4046950" cy="6245817"/>
          </a:xfrm>
          <a:prstGeom prst="rect">
            <a:avLst/>
          </a:prstGeom>
          <a:effectLst>
            <a:softEdge rad="83497"/>
          </a:effectLst>
        </p:spPr>
      </p:pic>
      <p:sp>
        <p:nvSpPr>
          <p:cNvPr id="9" name="TextBox 8">
            <a:extLst>
              <a:ext uri="{FF2B5EF4-FFF2-40B4-BE49-F238E27FC236}">
                <a16:creationId xmlns:a16="http://schemas.microsoft.com/office/drawing/2014/main" id="{EDE74750-3DF5-3067-FADC-1F0327245CF6}"/>
              </a:ext>
            </a:extLst>
          </p:cNvPr>
          <p:cNvSpPr txBox="1"/>
          <p:nvPr/>
        </p:nvSpPr>
        <p:spPr>
          <a:xfrm>
            <a:off x="8240661" y="5967757"/>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pic>
        <p:nvPicPr>
          <p:cNvPr id="10" name="Picture 9">
            <a:extLst>
              <a:ext uri="{FF2B5EF4-FFF2-40B4-BE49-F238E27FC236}">
                <a16:creationId xmlns:a16="http://schemas.microsoft.com/office/drawing/2014/main" id="{7685BD36-6643-926D-729B-7DFB64C829D4}"/>
              </a:ext>
            </a:extLst>
          </p:cNvPr>
          <p:cNvPicPr>
            <a:picLocks noChangeAspect="1"/>
          </p:cNvPicPr>
          <p:nvPr/>
        </p:nvPicPr>
        <p:blipFill>
          <a:blip r:embed="rId3"/>
          <a:stretch>
            <a:fillRect/>
          </a:stretch>
        </p:blipFill>
        <p:spPr>
          <a:xfrm>
            <a:off x="8873237" y="4418596"/>
            <a:ext cx="2764102" cy="1294384"/>
          </a:xfrm>
          <a:prstGeom prst="rect">
            <a:avLst/>
          </a:prstGeom>
        </p:spPr>
      </p:pic>
      <p:sp>
        <p:nvSpPr>
          <p:cNvPr id="5" name="TextBox 4">
            <a:extLst>
              <a:ext uri="{FF2B5EF4-FFF2-40B4-BE49-F238E27FC236}">
                <a16:creationId xmlns:a16="http://schemas.microsoft.com/office/drawing/2014/main" id="{8E68CD45-EC6A-A6FD-31F9-C489B1DF5CC0}"/>
              </a:ext>
            </a:extLst>
          </p:cNvPr>
          <p:cNvSpPr txBox="1"/>
          <p:nvPr/>
        </p:nvSpPr>
        <p:spPr>
          <a:xfrm>
            <a:off x="7095281" y="2129742"/>
            <a:ext cx="184731" cy="369332"/>
          </a:xfrm>
          <a:prstGeom prst="rect">
            <a:avLst/>
          </a:prstGeom>
          <a:noFill/>
        </p:spPr>
        <p:txBody>
          <a:bodyPr wrap="none" rtlCol="0">
            <a:spAutoFit/>
          </a:bodyPr>
          <a:lstStyle/>
          <a:p>
            <a:endParaRPr lang="en-IE"/>
          </a:p>
        </p:txBody>
      </p:sp>
    </p:spTree>
    <p:extLst>
      <p:ext uri="{BB962C8B-B14F-4D97-AF65-F5344CB8AC3E}">
        <p14:creationId xmlns:p14="http://schemas.microsoft.com/office/powerpoint/2010/main" val="41448360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DA41D7-B9ED-CF3F-E7CA-F1A10CE904BF}"/>
              </a:ext>
            </a:extLst>
          </p:cNvPr>
          <p:cNvPicPr>
            <a:picLocks noChangeAspect="1"/>
          </p:cNvPicPr>
          <p:nvPr/>
        </p:nvPicPr>
        <p:blipFill rotWithShape="1">
          <a:blip r:embed="rId2">
            <a:alphaModFix amt="10000"/>
          </a:blip>
          <a:srcRect l="19877"/>
          <a:stretch/>
        </p:blipFill>
        <p:spPr>
          <a:xfrm flipH="1">
            <a:off x="8649322" y="-11244"/>
            <a:ext cx="3553017" cy="5998139"/>
          </a:xfrm>
          <a:prstGeom prst="rect">
            <a:avLst/>
          </a:prstGeom>
        </p:spPr>
      </p:pic>
      <p:sp>
        <p:nvSpPr>
          <p:cNvPr id="5" name="TextBox 4">
            <a:extLst>
              <a:ext uri="{FF2B5EF4-FFF2-40B4-BE49-F238E27FC236}">
                <a16:creationId xmlns:a16="http://schemas.microsoft.com/office/drawing/2014/main" id="{F0538E16-E865-79E2-2EFC-D45E598E65BC}"/>
              </a:ext>
            </a:extLst>
          </p:cNvPr>
          <p:cNvSpPr txBox="1"/>
          <p:nvPr/>
        </p:nvSpPr>
        <p:spPr>
          <a:xfrm>
            <a:off x="11227422" y="5628807"/>
            <a:ext cx="964577" cy="369332"/>
          </a:xfrm>
          <a:prstGeom prst="rect">
            <a:avLst/>
          </a:prstGeom>
          <a:noFill/>
        </p:spPr>
        <p:txBody>
          <a:bodyPr wrap="square">
            <a:spAutoFit/>
          </a:bodyPr>
          <a:lstStyle/>
          <a:p>
            <a:r>
              <a:rPr lang="en-GB" sz="900" b="0" i="0">
                <a:solidFill>
                  <a:schemeClr val="bg1"/>
                </a:solidFill>
                <a:effectLst/>
                <a:latin typeface="Roboto" panose="02000000000000000000" pitchFamily="2" charset="0"/>
              </a:rPr>
              <a:t>Powered by DALL·E 3</a:t>
            </a:r>
            <a:endParaRPr lang="en-IE" sz="900">
              <a:solidFill>
                <a:schemeClr val="bg1"/>
              </a:solidFill>
            </a:endParaRPr>
          </a:p>
        </p:txBody>
      </p:sp>
      <p:pic>
        <p:nvPicPr>
          <p:cNvPr id="9" name="Picture 8">
            <a:extLst>
              <a:ext uri="{FF2B5EF4-FFF2-40B4-BE49-F238E27FC236}">
                <a16:creationId xmlns:a16="http://schemas.microsoft.com/office/drawing/2014/main" id="{41C0ABE7-FF74-8DD3-088B-E0AF1E4D6D9B}"/>
              </a:ext>
            </a:extLst>
          </p:cNvPr>
          <p:cNvPicPr>
            <a:picLocks noChangeAspect="1"/>
          </p:cNvPicPr>
          <p:nvPr/>
        </p:nvPicPr>
        <p:blipFill rotWithShape="1">
          <a:blip r:embed="rId2">
            <a:alphaModFix amt="50000"/>
          </a:blip>
          <a:srcRect l="19877"/>
          <a:stretch/>
        </p:blipFill>
        <p:spPr>
          <a:xfrm flipH="1">
            <a:off x="8649322" y="-11244"/>
            <a:ext cx="3553017" cy="5998139"/>
          </a:xfrm>
          <a:prstGeom prst="rect">
            <a:avLst/>
          </a:prstGeom>
        </p:spPr>
      </p:pic>
      <p:sp>
        <p:nvSpPr>
          <p:cNvPr id="11" name="TextBox 10">
            <a:extLst>
              <a:ext uri="{FF2B5EF4-FFF2-40B4-BE49-F238E27FC236}">
                <a16:creationId xmlns:a16="http://schemas.microsoft.com/office/drawing/2014/main" id="{46A74413-0451-4C5C-8064-4AFC18139F7B}"/>
              </a:ext>
            </a:extLst>
          </p:cNvPr>
          <p:cNvSpPr txBox="1"/>
          <p:nvPr/>
        </p:nvSpPr>
        <p:spPr>
          <a:xfrm>
            <a:off x="11227422" y="5628807"/>
            <a:ext cx="964577" cy="369332"/>
          </a:xfrm>
          <a:prstGeom prst="rect">
            <a:avLst/>
          </a:prstGeom>
          <a:noFill/>
        </p:spPr>
        <p:txBody>
          <a:bodyPr wrap="square">
            <a:spAutoFit/>
          </a:bodyPr>
          <a:lstStyle/>
          <a:p>
            <a:r>
              <a:rPr lang="en-GB" sz="900" b="0" i="0">
                <a:solidFill>
                  <a:schemeClr val="bg1"/>
                </a:solidFill>
                <a:effectLst/>
                <a:latin typeface="Roboto" panose="02000000000000000000" pitchFamily="2" charset="0"/>
              </a:rPr>
              <a:t>Powered by DALL·E 3</a:t>
            </a:r>
            <a:endParaRPr lang="en-IE" sz="900">
              <a:solidFill>
                <a:schemeClr val="bg1"/>
              </a:solidFill>
            </a:endParaRPr>
          </a:p>
        </p:txBody>
      </p:sp>
      <p:pic>
        <p:nvPicPr>
          <p:cNvPr id="12" name="Picture 11">
            <a:extLst>
              <a:ext uri="{FF2B5EF4-FFF2-40B4-BE49-F238E27FC236}">
                <a16:creationId xmlns:a16="http://schemas.microsoft.com/office/drawing/2014/main" id="{E2BD6656-A680-4E18-88EA-1BE7D14BC106}"/>
              </a:ext>
            </a:extLst>
          </p:cNvPr>
          <p:cNvPicPr>
            <a:picLocks noChangeAspect="1"/>
          </p:cNvPicPr>
          <p:nvPr/>
        </p:nvPicPr>
        <p:blipFill>
          <a:blip r:embed="rId3">
            <a:alphaModFix amt="70000"/>
          </a:blip>
          <a:stretch>
            <a:fillRect/>
          </a:stretch>
        </p:blipFill>
        <p:spPr>
          <a:xfrm>
            <a:off x="8649322" y="0"/>
            <a:ext cx="3542677" cy="1299534"/>
          </a:xfrm>
          <a:prstGeom prst="rect">
            <a:avLst/>
          </a:prstGeom>
        </p:spPr>
      </p:pic>
      <p:sp>
        <p:nvSpPr>
          <p:cNvPr id="3" name="Content Placeholder 2">
            <a:extLst>
              <a:ext uri="{FF2B5EF4-FFF2-40B4-BE49-F238E27FC236}">
                <a16:creationId xmlns:a16="http://schemas.microsoft.com/office/drawing/2014/main" id="{36827FF0-C6F2-814F-07A2-D8DD589EEC51}"/>
              </a:ext>
            </a:extLst>
          </p:cNvPr>
          <p:cNvSpPr>
            <a:spLocks noGrp="1"/>
          </p:cNvSpPr>
          <p:nvPr>
            <p:ph idx="1"/>
          </p:nvPr>
        </p:nvSpPr>
        <p:spPr>
          <a:xfrm>
            <a:off x="838200" y="1290538"/>
            <a:ext cx="10915650" cy="5061481"/>
          </a:xfrm>
        </p:spPr>
        <p:txBody>
          <a:bodyPr>
            <a:normAutofit/>
          </a:bodyPr>
          <a:lstStyle/>
          <a:p>
            <a:pPr marL="0" indent="0">
              <a:buNone/>
            </a:pPr>
            <a:r>
              <a:rPr lang="nl-BE" dirty="0"/>
              <a:t>P</a:t>
            </a:r>
            <a:r>
              <a:rPr lang="en-GB" dirty="0"/>
              <a:t>ROVISIONS FOR HIGH-RISK AI-SYSTEMS</a:t>
            </a:r>
          </a:p>
          <a:p>
            <a:pPr marL="285760" indent="-285760">
              <a:buFont typeface="Arial" panose="020B0604020202020204" pitchFamily="34" charset="0"/>
              <a:buChar char="•"/>
            </a:pPr>
            <a:r>
              <a:rPr lang="de-AT" dirty="0" err="1"/>
              <a:t>Specific</a:t>
            </a:r>
            <a:r>
              <a:rPr lang="de-AT" dirty="0"/>
              <a:t> </a:t>
            </a:r>
            <a:r>
              <a:rPr lang="de-AT" dirty="0" err="1"/>
              <a:t>technical</a:t>
            </a:r>
            <a:r>
              <a:rPr lang="de-AT" dirty="0"/>
              <a:t> </a:t>
            </a:r>
            <a:r>
              <a:rPr lang="de-AT" dirty="0" err="1"/>
              <a:t>documentation</a:t>
            </a:r>
            <a:r>
              <a:rPr lang="de-AT" dirty="0"/>
              <a:t> </a:t>
            </a:r>
            <a:r>
              <a:rPr lang="de-AT" dirty="0" err="1"/>
              <a:t>to</a:t>
            </a:r>
            <a:r>
              <a:rPr lang="de-AT" dirty="0"/>
              <a:t> </a:t>
            </a:r>
            <a:r>
              <a:rPr lang="de-AT" dirty="0" err="1"/>
              <a:t>consider</a:t>
            </a:r>
            <a:r>
              <a:rPr lang="de-AT" dirty="0"/>
              <a:t>.</a:t>
            </a:r>
          </a:p>
          <a:p>
            <a:pPr marL="285760" indent="-285760">
              <a:buFont typeface="Arial" panose="020B0604020202020204" pitchFamily="34" charset="0"/>
              <a:buChar char="•"/>
            </a:pPr>
            <a:r>
              <a:rPr lang="en-US" dirty="0"/>
              <a:t>Testing according to previously defined metrics, thresholds</a:t>
            </a:r>
          </a:p>
          <a:p>
            <a:pPr marL="285760" indent="-285760">
              <a:buFont typeface="Arial" panose="020B0604020202020204" pitchFamily="34" charset="0"/>
              <a:buChar char="•"/>
            </a:pPr>
            <a:r>
              <a:rPr lang="en-US" dirty="0"/>
              <a:t>Implementation of risk management systems
Consideration of persons under 18 years of age
Test, validation and training data must meet the quality criteria of the AI Act
Logs must be recorded and kept for several years
Can only be used with human inspection
Works council must be informed
Registration obligations also for deployers
Obligations in terms of transparency, quality management...</a:t>
            </a:r>
            <a:r>
              <a:rPr lang="de-AT" dirty="0"/>
              <a:t>.etc.</a:t>
            </a:r>
          </a:p>
          <a:p>
            <a:endParaRPr lang="en-GB" dirty="0"/>
          </a:p>
        </p:txBody>
      </p:sp>
      <p:sp>
        <p:nvSpPr>
          <p:cNvPr id="2" name="Title 1">
            <a:extLst>
              <a:ext uri="{FF2B5EF4-FFF2-40B4-BE49-F238E27FC236}">
                <a16:creationId xmlns:a16="http://schemas.microsoft.com/office/drawing/2014/main" id="{E838D62C-DE1F-91EA-2B59-82BB0275020E}"/>
              </a:ext>
            </a:extLst>
          </p:cNvPr>
          <p:cNvSpPr>
            <a:spLocks noGrp="1"/>
          </p:cNvSpPr>
          <p:nvPr>
            <p:ph type="title"/>
          </p:nvPr>
        </p:nvSpPr>
        <p:spPr>
          <a:xfrm>
            <a:off x="838200" y="365125"/>
            <a:ext cx="10515600" cy="757130"/>
          </a:xfrm>
        </p:spPr>
        <p:txBody>
          <a:bodyPr/>
          <a:lstStyle/>
          <a:p>
            <a:r>
              <a:rPr lang="en-IE" dirty="0"/>
              <a:t>EU AI ACT*</a:t>
            </a:r>
            <a:br>
              <a:rPr lang="en-IE" dirty="0"/>
            </a:br>
            <a:r>
              <a:rPr lang="nl-BE" dirty="0"/>
              <a:t>What are you expected to do?</a:t>
            </a:r>
            <a:endParaRPr lang="en-IE" dirty="0"/>
          </a:p>
        </p:txBody>
      </p:sp>
      <p:sp>
        <p:nvSpPr>
          <p:cNvPr id="15" name="TextBox 14">
            <a:extLst>
              <a:ext uri="{FF2B5EF4-FFF2-40B4-BE49-F238E27FC236}">
                <a16:creationId xmlns:a16="http://schemas.microsoft.com/office/drawing/2014/main" id="{8BD13E02-95F0-861F-3F23-CA226F737CC8}"/>
              </a:ext>
            </a:extLst>
          </p:cNvPr>
          <p:cNvSpPr txBox="1"/>
          <p:nvPr/>
        </p:nvSpPr>
        <p:spPr>
          <a:xfrm>
            <a:off x="2977549" y="6670783"/>
            <a:ext cx="10135860" cy="215444"/>
          </a:xfrm>
          <a:prstGeom prst="rect">
            <a:avLst/>
          </a:prstGeom>
          <a:noFill/>
        </p:spPr>
        <p:txBody>
          <a:bodyPr wrap="square" rtlCol="0">
            <a:spAutoFit/>
          </a:bodyPr>
          <a:lstStyle/>
          <a:p>
            <a:r>
              <a:rPr lang="en-US" sz="800" b="1" dirty="0"/>
              <a:t>* This material is for general information purposes only and it does not contain a complete description, analysis or advice.  </a:t>
            </a:r>
            <a:r>
              <a:rPr lang="en-US" sz="800" b="1" dirty="0" err="1"/>
              <a:t>Informations</a:t>
            </a:r>
            <a:r>
              <a:rPr lang="en-US" sz="800" b="1" dirty="0"/>
              <a:t> are based on the latest (</a:t>
            </a:r>
            <a:r>
              <a:rPr lang="en-US" sz="800" b="1" dirty="0">
                <a:solidFill>
                  <a:srgbClr val="0563C1"/>
                </a:solidFill>
              </a:rPr>
              <a:t>March</a:t>
            </a:r>
            <a:r>
              <a:rPr lang="en-US" sz="800" b="1" dirty="0">
                <a:hlinkClick r:id="rId4">
                  <a:extLst>
                    <a:ext uri="{A12FA001-AC4F-418D-AE19-62706E023703}">
                      <ahyp:hlinkClr xmlns:ahyp="http://schemas.microsoft.com/office/drawing/2018/hyperlinkcolor" val="tx"/>
                    </a:ext>
                  </a:extLst>
                </a:hlinkClick>
              </a:rPr>
              <a:t> 2024) version of the AI Act</a:t>
            </a:r>
            <a:r>
              <a:rPr lang="en-US" sz="800" b="1" dirty="0"/>
              <a:t>.</a:t>
            </a:r>
            <a:endParaRPr lang="de-AT" sz="800" dirty="0"/>
          </a:p>
        </p:txBody>
      </p:sp>
    </p:spTree>
    <p:extLst>
      <p:ext uri="{BB962C8B-B14F-4D97-AF65-F5344CB8AC3E}">
        <p14:creationId xmlns:p14="http://schemas.microsoft.com/office/powerpoint/2010/main" val="3574331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43DDBE2-1253-0271-EAC9-C65574D6D7EA}"/>
              </a:ext>
            </a:extLst>
          </p:cNvPr>
          <p:cNvPicPr>
            <a:picLocks noChangeAspect="1"/>
          </p:cNvPicPr>
          <p:nvPr/>
        </p:nvPicPr>
        <p:blipFill rotWithShape="1">
          <a:blip r:embed="rId2">
            <a:alphaModFix amt="10000"/>
          </a:blip>
          <a:srcRect l="19877"/>
          <a:stretch/>
        </p:blipFill>
        <p:spPr>
          <a:xfrm flipH="1">
            <a:off x="8649322" y="-11244"/>
            <a:ext cx="3553017" cy="5998139"/>
          </a:xfrm>
          <a:prstGeom prst="rect">
            <a:avLst/>
          </a:prstGeom>
        </p:spPr>
      </p:pic>
      <p:sp>
        <p:nvSpPr>
          <p:cNvPr id="5" name="TextBox 4">
            <a:extLst>
              <a:ext uri="{FF2B5EF4-FFF2-40B4-BE49-F238E27FC236}">
                <a16:creationId xmlns:a16="http://schemas.microsoft.com/office/drawing/2014/main" id="{ED8B48B9-7B65-547F-D078-9D448A23B2BE}"/>
              </a:ext>
            </a:extLst>
          </p:cNvPr>
          <p:cNvSpPr txBox="1"/>
          <p:nvPr/>
        </p:nvSpPr>
        <p:spPr>
          <a:xfrm>
            <a:off x="11227422" y="5628807"/>
            <a:ext cx="964577" cy="369332"/>
          </a:xfrm>
          <a:prstGeom prst="rect">
            <a:avLst/>
          </a:prstGeom>
          <a:noFill/>
        </p:spPr>
        <p:txBody>
          <a:bodyPr wrap="square">
            <a:spAutoFit/>
          </a:bodyPr>
          <a:lstStyle/>
          <a:p>
            <a:r>
              <a:rPr lang="en-GB" sz="900" b="0" i="0">
                <a:solidFill>
                  <a:schemeClr val="bg1"/>
                </a:solidFill>
                <a:effectLst/>
                <a:latin typeface="Roboto" panose="02000000000000000000" pitchFamily="2" charset="0"/>
              </a:rPr>
              <a:t>Powered by DALL·E 3</a:t>
            </a:r>
            <a:endParaRPr lang="en-IE" sz="900">
              <a:solidFill>
                <a:schemeClr val="bg1"/>
              </a:solidFill>
            </a:endParaRPr>
          </a:p>
        </p:txBody>
      </p:sp>
      <p:pic>
        <p:nvPicPr>
          <p:cNvPr id="9" name="Picture 8">
            <a:extLst>
              <a:ext uri="{FF2B5EF4-FFF2-40B4-BE49-F238E27FC236}">
                <a16:creationId xmlns:a16="http://schemas.microsoft.com/office/drawing/2014/main" id="{093BE85E-8ED1-9C76-8AE8-53DF1AA66098}"/>
              </a:ext>
            </a:extLst>
          </p:cNvPr>
          <p:cNvPicPr>
            <a:picLocks noChangeAspect="1"/>
          </p:cNvPicPr>
          <p:nvPr/>
        </p:nvPicPr>
        <p:blipFill rotWithShape="1">
          <a:blip r:embed="rId2">
            <a:alphaModFix amt="50000"/>
          </a:blip>
          <a:srcRect l="19877"/>
          <a:stretch/>
        </p:blipFill>
        <p:spPr>
          <a:xfrm flipH="1">
            <a:off x="8649322" y="-11244"/>
            <a:ext cx="3553017" cy="5998139"/>
          </a:xfrm>
          <a:prstGeom prst="rect">
            <a:avLst/>
          </a:prstGeom>
        </p:spPr>
      </p:pic>
      <p:sp>
        <p:nvSpPr>
          <p:cNvPr id="11" name="TextBox 10">
            <a:extLst>
              <a:ext uri="{FF2B5EF4-FFF2-40B4-BE49-F238E27FC236}">
                <a16:creationId xmlns:a16="http://schemas.microsoft.com/office/drawing/2014/main" id="{1EB1E8FB-0AE4-9C4F-E0D3-485E493D7C5C}"/>
              </a:ext>
            </a:extLst>
          </p:cNvPr>
          <p:cNvSpPr txBox="1"/>
          <p:nvPr/>
        </p:nvSpPr>
        <p:spPr>
          <a:xfrm>
            <a:off x="11227422" y="5628807"/>
            <a:ext cx="964577" cy="369332"/>
          </a:xfrm>
          <a:prstGeom prst="rect">
            <a:avLst/>
          </a:prstGeom>
          <a:noFill/>
        </p:spPr>
        <p:txBody>
          <a:bodyPr wrap="square">
            <a:spAutoFit/>
          </a:bodyPr>
          <a:lstStyle/>
          <a:p>
            <a:r>
              <a:rPr lang="en-GB" sz="900" b="0" i="0">
                <a:solidFill>
                  <a:schemeClr val="bg1"/>
                </a:solidFill>
                <a:effectLst/>
                <a:latin typeface="Roboto" panose="02000000000000000000" pitchFamily="2" charset="0"/>
              </a:rPr>
              <a:t>Powered by DALL·E 3</a:t>
            </a:r>
            <a:endParaRPr lang="en-IE" sz="900">
              <a:solidFill>
                <a:schemeClr val="bg1"/>
              </a:solidFill>
            </a:endParaRPr>
          </a:p>
        </p:txBody>
      </p:sp>
      <p:pic>
        <p:nvPicPr>
          <p:cNvPr id="12" name="Picture 11">
            <a:extLst>
              <a:ext uri="{FF2B5EF4-FFF2-40B4-BE49-F238E27FC236}">
                <a16:creationId xmlns:a16="http://schemas.microsoft.com/office/drawing/2014/main" id="{28F8477F-F5F4-23F3-5570-2D5C20853D53}"/>
              </a:ext>
            </a:extLst>
          </p:cNvPr>
          <p:cNvPicPr>
            <a:picLocks noChangeAspect="1"/>
          </p:cNvPicPr>
          <p:nvPr/>
        </p:nvPicPr>
        <p:blipFill>
          <a:blip r:embed="rId3">
            <a:alphaModFix amt="70000"/>
          </a:blip>
          <a:stretch>
            <a:fillRect/>
          </a:stretch>
        </p:blipFill>
        <p:spPr>
          <a:xfrm>
            <a:off x="8649322" y="0"/>
            <a:ext cx="3542677" cy="1299534"/>
          </a:xfrm>
          <a:prstGeom prst="rect">
            <a:avLst/>
          </a:prstGeom>
        </p:spPr>
      </p:pic>
      <p:sp>
        <p:nvSpPr>
          <p:cNvPr id="3" name="Content Placeholder 2">
            <a:extLst>
              <a:ext uri="{FF2B5EF4-FFF2-40B4-BE49-F238E27FC236}">
                <a16:creationId xmlns:a16="http://schemas.microsoft.com/office/drawing/2014/main" id="{36827FF0-C6F2-814F-07A2-D8DD589EEC51}"/>
              </a:ext>
            </a:extLst>
          </p:cNvPr>
          <p:cNvSpPr>
            <a:spLocks noGrp="1"/>
          </p:cNvSpPr>
          <p:nvPr>
            <p:ph idx="1"/>
          </p:nvPr>
        </p:nvSpPr>
        <p:spPr>
          <a:xfrm>
            <a:off x="638407" y="1449709"/>
            <a:ext cx="10915185" cy="4902312"/>
          </a:xfrm>
        </p:spPr>
        <p:txBody>
          <a:bodyPr>
            <a:normAutofit lnSpcReduction="10000"/>
          </a:bodyPr>
          <a:lstStyle/>
          <a:p>
            <a:pPr marL="0" indent="0">
              <a:buNone/>
            </a:pPr>
            <a:r>
              <a:rPr lang="en-GB" dirty="0"/>
              <a:t>What will be the penalties?</a:t>
            </a:r>
          </a:p>
          <a:p>
            <a:pPr lvl="0"/>
            <a:r>
              <a:rPr lang="en-GB" noProof="0" dirty="0"/>
              <a:t>Penalties and fines:  </a:t>
            </a:r>
            <a:r>
              <a:rPr lang="en-GB" sz="1400" noProof="0" dirty="0"/>
              <a:t>(based on worldwide annual turnover for the preceding financial year )</a:t>
            </a:r>
          </a:p>
          <a:p>
            <a:pPr lvl="1"/>
            <a:r>
              <a:rPr lang="en-GB" noProof="0" dirty="0"/>
              <a:t>Sanctions for violations of the regulations are higher than those for GDPR.</a:t>
            </a:r>
          </a:p>
          <a:p>
            <a:pPr lvl="1"/>
            <a:r>
              <a:rPr lang="en-GB" noProof="0" dirty="0"/>
              <a:t>7% of </a:t>
            </a:r>
            <a:r>
              <a:rPr lang="en-GB" dirty="0"/>
              <a:t>the</a:t>
            </a:r>
            <a:r>
              <a:rPr lang="en-GB" noProof="0" dirty="0"/>
              <a:t> turnover</a:t>
            </a:r>
            <a:r>
              <a:rPr lang="en-GB" dirty="0"/>
              <a:t> </a:t>
            </a:r>
            <a:r>
              <a:rPr lang="en-GB" noProof="0" dirty="0"/>
              <a:t>or 35M EUR whichever is higher for</a:t>
            </a:r>
            <a:r>
              <a:rPr lang="en-GB" dirty="0"/>
              <a:t> violation of prohibited activities</a:t>
            </a:r>
          </a:p>
          <a:p>
            <a:pPr lvl="1"/>
            <a:r>
              <a:rPr lang="en-GB" dirty="0"/>
              <a:t>3</a:t>
            </a:r>
            <a:r>
              <a:rPr lang="en-GB" noProof="0" dirty="0"/>
              <a:t>% of </a:t>
            </a:r>
            <a:r>
              <a:rPr lang="en-GB" dirty="0"/>
              <a:t>the </a:t>
            </a:r>
            <a:r>
              <a:rPr lang="en-GB" noProof="0" dirty="0"/>
              <a:t>turnover or 15M EUR whichever is higher for</a:t>
            </a:r>
            <a:r>
              <a:rPr lang="en-GB" dirty="0"/>
              <a:t> violation of other previsions</a:t>
            </a:r>
            <a:endParaRPr lang="en-GB" noProof="0" dirty="0"/>
          </a:p>
          <a:p>
            <a:pPr lvl="1"/>
            <a:r>
              <a:rPr lang="en-GB" noProof="0" dirty="0"/>
              <a:t>3% for SME of turnover</a:t>
            </a:r>
            <a:endParaRPr lang="en-GB" dirty="0"/>
          </a:p>
          <a:p>
            <a:pPr marL="0" indent="0">
              <a:buNone/>
            </a:pPr>
            <a:r>
              <a:rPr lang="en-GB" dirty="0"/>
              <a:t>When will it enter into force? </a:t>
            </a:r>
          </a:p>
          <a:p>
            <a:pPr lvl="1"/>
            <a:r>
              <a:rPr lang="en-GB" dirty="0"/>
              <a:t>It will enter into force 20 days after publication.  (forecast June/July)</a:t>
            </a:r>
          </a:p>
          <a:p>
            <a:pPr lvl="1"/>
            <a:r>
              <a:rPr lang="en-US" dirty="0"/>
              <a:t>Fully applicable 24 months after entry in force, with a graduated approach:</a:t>
            </a:r>
          </a:p>
          <a:p>
            <a:pPr lvl="2"/>
            <a:r>
              <a:rPr lang="en-US" dirty="0"/>
              <a:t>6 months after entry into force, Member States shall phase out prohibited systems.</a:t>
            </a:r>
          </a:p>
          <a:p>
            <a:pPr lvl="2"/>
            <a:r>
              <a:rPr lang="en-US" dirty="0"/>
              <a:t>12 months: obligations for general purpose AI governance become applicable.</a:t>
            </a:r>
          </a:p>
          <a:p>
            <a:pPr lvl="2"/>
            <a:r>
              <a:rPr lang="en-US" dirty="0"/>
              <a:t>24 months: all rules of the AI Act become applicable including obligations for high-risk systems defined in Annex III.</a:t>
            </a:r>
          </a:p>
          <a:p>
            <a:pPr lvl="2"/>
            <a:r>
              <a:rPr lang="en-US" dirty="0"/>
              <a:t>36 months: obligations for high-risk systems defined in Annex II (list of Union harmonization legislation) apply.</a:t>
            </a:r>
          </a:p>
          <a:p>
            <a:r>
              <a:rPr lang="en-US" dirty="0"/>
              <a:t>European AI Board: </a:t>
            </a:r>
          </a:p>
          <a:p>
            <a:pPr lvl="2"/>
            <a:r>
              <a:rPr lang="en-US" dirty="0"/>
              <a:t>Establishment of a regulatory body to support the implementation of the AI Act.</a:t>
            </a:r>
          </a:p>
          <a:p>
            <a:pPr marL="0" indent="0">
              <a:buNone/>
            </a:pPr>
            <a:endParaRPr lang="en-GB" dirty="0"/>
          </a:p>
          <a:p>
            <a:endParaRPr lang="en-GB" dirty="0"/>
          </a:p>
        </p:txBody>
      </p:sp>
      <p:sp>
        <p:nvSpPr>
          <p:cNvPr id="2" name="Title 1">
            <a:extLst>
              <a:ext uri="{FF2B5EF4-FFF2-40B4-BE49-F238E27FC236}">
                <a16:creationId xmlns:a16="http://schemas.microsoft.com/office/drawing/2014/main" id="{E838D62C-DE1F-91EA-2B59-82BB0275020E}"/>
              </a:ext>
            </a:extLst>
          </p:cNvPr>
          <p:cNvSpPr>
            <a:spLocks noGrp="1"/>
          </p:cNvSpPr>
          <p:nvPr>
            <p:ph type="title"/>
          </p:nvPr>
        </p:nvSpPr>
        <p:spPr>
          <a:xfrm>
            <a:off x="638406" y="365125"/>
            <a:ext cx="11553593" cy="978729"/>
          </a:xfrm>
        </p:spPr>
        <p:txBody>
          <a:bodyPr/>
          <a:lstStyle/>
          <a:p>
            <a:r>
              <a:rPr lang="en-IE" dirty="0"/>
              <a:t>EU AI ACT*</a:t>
            </a:r>
            <a:br>
              <a:rPr lang="en-IE" dirty="0"/>
            </a:br>
            <a:r>
              <a:rPr lang="en-IE" dirty="0"/>
              <a:t>Overview</a:t>
            </a:r>
          </a:p>
        </p:txBody>
      </p:sp>
      <p:sp>
        <p:nvSpPr>
          <p:cNvPr id="6" name="Date Placeholder 5">
            <a:extLst>
              <a:ext uri="{FF2B5EF4-FFF2-40B4-BE49-F238E27FC236}">
                <a16:creationId xmlns:a16="http://schemas.microsoft.com/office/drawing/2014/main" id="{DEFE27AA-2234-2A3D-86E9-415D2562FC69}"/>
              </a:ext>
            </a:extLst>
          </p:cNvPr>
          <p:cNvSpPr>
            <a:spLocks noGrp="1"/>
          </p:cNvSpPr>
          <p:nvPr>
            <p:ph type="dt" sz="half" idx="4294967295"/>
          </p:nvPr>
        </p:nvSpPr>
        <p:spPr>
          <a:xfrm>
            <a:off x="0" y="0"/>
            <a:ext cx="0" cy="0"/>
          </a:xfrm>
        </p:spPr>
        <p:txBody>
          <a:bodyPr/>
          <a:lstStyle/>
          <a:p>
            <a:fld id="{05E04F24-5183-4938-80E6-05C4A9FE65AC}" type="datetime1">
              <a:rPr lang="en-IE" smtClean="0"/>
              <a:pPr/>
              <a:t>25/03/2024</a:t>
            </a:fld>
            <a:endParaRPr lang="en-GB"/>
          </a:p>
        </p:txBody>
      </p:sp>
      <p:sp>
        <p:nvSpPr>
          <p:cNvPr id="8" name="Slide Number Placeholder 7">
            <a:extLst>
              <a:ext uri="{FF2B5EF4-FFF2-40B4-BE49-F238E27FC236}">
                <a16:creationId xmlns:a16="http://schemas.microsoft.com/office/drawing/2014/main" id="{183D78E3-B449-4D7B-BD09-5B0C79498DA3}"/>
              </a:ext>
            </a:extLst>
          </p:cNvPr>
          <p:cNvSpPr>
            <a:spLocks noGrp="1"/>
          </p:cNvSpPr>
          <p:nvPr>
            <p:ph type="sldNum" sz="quarter" idx="4294967295"/>
          </p:nvPr>
        </p:nvSpPr>
        <p:spPr>
          <a:xfrm>
            <a:off x="0" y="0"/>
            <a:ext cx="0" cy="0"/>
          </a:xfrm>
        </p:spPr>
        <p:txBody>
          <a:bodyPr/>
          <a:lstStyle/>
          <a:p>
            <a:fld id="{C3D59E75-5B20-4381-9776-4576305CCD61}" type="slidenum">
              <a:rPr lang="nl-BE" smtClean="0"/>
              <a:pPr/>
              <a:t>11</a:t>
            </a:fld>
            <a:endParaRPr lang="nl-BE"/>
          </a:p>
        </p:txBody>
      </p:sp>
      <p:sp>
        <p:nvSpPr>
          <p:cNvPr id="20" name="TextBox 19">
            <a:extLst>
              <a:ext uri="{FF2B5EF4-FFF2-40B4-BE49-F238E27FC236}">
                <a16:creationId xmlns:a16="http://schemas.microsoft.com/office/drawing/2014/main" id="{842E9EB3-C05F-C1AF-C507-98A2E6C7DF67}"/>
              </a:ext>
            </a:extLst>
          </p:cNvPr>
          <p:cNvSpPr txBox="1"/>
          <p:nvPr/>
        </p:nvSpPr>
        <p:spPr>
          <a:xfrm>
            <a:off x="2977549" y="6670783"/>
            <a:ext cx="10135860" cy="215444"/>
          </a:xfrm>
          <a:prstGeom prst="rect">
            <a:avLst/>
          </a:prstGeom>
          <a:noFill/>
        </p:spPr>
        <p:txBody>
          <a:bodyPr wrap="square" rtlCol="0">
            <a:spAutoFit/>
          </a:bodyPr>
          <a:lstStyle/>
          <a:p>
            <a:r>
              <a:rPr lang="en-US" sz="800" b="1" dirty="0"/>
              <a:t>* This material is for general information purposes only and it does not contain a complete description, analysis or advice.  </a:t>
            </a:r>
            <a:r>
              <a:rPr lang="en-US" sz="800" b="1" dirty="0" err="1"/>
              <a:t>Informations</a:t>
            </a:r>
            <a:r>
              <a:rPr lang="en-US" sz="800" b="1" dirty="0"/>
              <a:t> are based on the latest (</a:t>
            </a:r>
            <a:r>
              <a:rPr lang="en-US" sz="800" b="1" dirty="0">
                <a:solidFill>
                  <a:srgbClr val="0563C1"/>
                </a:solidFill>
              </a:rPr>
              <a:t>March</a:t>
            </a:r>
            <a:r>
              <a:rPr lang="en-US" sz="800" b="1" dirty="0">
                <a:hlinkClick r:id="rId4">
                  <a:extLst>
                    <a:ext uri="{A12FA001-AC4F-418D-AE19-62706E023703}">
                      <ahyp:hlinkClr xmlns:ahyp="http://schemas.microsoft.com/office/drawing/2018/hyperlinkcolor" val="tx"/>
                    </a:ext>
                  </a:extLst>
                </a:hlinkClick>
              </a:rPr>
              <a:t> 2024) version of the AI Act</a:t>
            </a:r>
            <a:r>
              <a:rPr lang="en-US" sz="800" b="1" dirty="0"/>
              <a:t>.</a:t>
            </a:r>
            <a:endParaRPr lang="de-AT" sz="800" dirty="0"/>
          </a:p>
        </p:txBody>
      </p:sp>
    </p:spTree>
    <p:extLst>
      <p:ext uri="{BB962C8B-B14F-4D97-AF65-F5344CB8AC3E}">
        <p14:creationId xmlns:p14="http://schemas.microsoft.com/office/powerpoint/2010/main" val="739617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EED6B-68FD-2D0B-DDB9-BBABCAE3EB9B}"/>
              </a:ext>
            </a:extLst>
          </p:cNvPr>
          <p:cNvSpPr>
            <a:spLocks noGrp="1"/>
          </p:cNvSpPr>
          <p:nvPr>
            <p:ph type="title"/>
          </p:nvPr>
        </p:nvSpPr>
        <p:spPr>
          <a:xfrm>
            <a:off x="452581" y="411307"/>
            <a:ext cx="11321441" cy="978729"/>
          </a:xfrm>
        </p:spPr>
        <p:txBody>
          <a:bodyPr/>
          <a:lstStyle/>
          <a:p>
            <a:r>
              <a:rPr lang="en-IE" dirty="0"/>
              <a:t>Managing the </a:t>
            </a:r>
            <a:r>
              <a:rPr lang="en-IE" sz="3200" dirty="0"/>
              <a:t>“monkey with a hand grenade” AI risks</a:t>
            </a:r>
            <a:br>
              <a:rPr lang="en-IE" dirty="0"/>
            </a:br>
            <a:r>
              <a:rPr lang="en-IE" dirty="0"/>
              <a:t>Towards an AI Governance Framework</a:t>
            </a:r>
          </a:p>
        </p:txBody>
      </p:sp>
      <p:pic>
        <p:nvPicPr>
          <p:cNvPr id="15" name="Picture 14">
            <a:extLst>
              <a:ext uri="{FF2B5EF4-FFF2-40B4-BE49-F238E27FC236}">
                <a16:creationId xmlns:a16="http://schemas.microsoft.com/office/drawing/2014/main" id="{C559153A-BCDC-2420-5857-FC8D14EA6BC0}"/>
              </a:ext>
            </a:extLst>
          </p:cNvPr>
          <p:cNvPicPr>
            <a:picLocks noChangeAspect="1"/>
          </p:cNvPicPr>
          <p:nvPr/>
        </p:nvPicPr>
        <p:blipFill>
          <a:blip r:embed="rId2"/>
          <a:stretch>
            <a:fillRect/>
          </a:stretch>
        </p:blipFill>
        <p:spPr>
          <a:xfrm>
            <a:off x="-5927960" y="1264569"/>
            <a:ext cx="5748078" cy="4743011"/>
          </a:xfrm>
          <a:prstGeom prst="rect">
            <a:avLst/>
          </a:prstGeom>
        </p:spPr>
      </p:pic>
      <p:pic>
        <p:nvPicPr>
          <p:cNvPr id="16" name="Picture 15">
            <a:extLst>
              <a:ext uri="{FF2B5EF4-FFF2-40B4-BE49-F238E27FC236}">
                <a16:creationId xmlns:a16="http://schemas.microsoft.com/office/drawing/2014/main" id="{0ED2564C-0F7C-6EE1-4EBB-11EBC57B07D5}"/>
              </a:ext>
            </a:extLst>
          </p:cNvPr>
          <p:cNvPicPr>
            <a:picLocks noChangeAspect="1"/>
          </p:cNvPicPr>
          <p:nvPr/>
        </p:nvPicPr>
        <p:blipFill rotWithShape="1">
          <a:blip r:embed="rId3"/>
          <a:srcRect l="4082" t="3497" r="3363" b="1858"/>
          <a:stretch/>
        </p:blipFill>
        <p:spPr>
          <a:xfrm>
            <a:off x="-4749850" y="-1417880"/>
            <a:ext cx="3658373" cy="3658373"/>
          </a:xfrm>
          <a:prstGeom prst="ellipse">
            <a:avLst/>
          </a:prstGeom>
        </p:spPr>
      </p:pic>
      <p:pic>
        <p:nvPicPr>
          <p:cNvPr id="21" name="Picture 4">
            <a:extLst>
              <a:ext uri="{FF2B5EF4-FFF2-40B4-BE49-F238E27FC236}">
                <a16:creationId xmlns:a16="http://schemas.microsoft.com/office/drawing/2014/main" id="{5F5A6289-7E54-5047-43B9-5D22FE2D125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3916"/>
          <a:stretch/>
        </p:blipFill>
        <p:spPr bwMode="auto">
          <a:xfrm>
            <a:off x="7105031" y="2055351"/>
            <a:ext cx="4248771" cy="378179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9ED52092-66C2-D661-CBA5-2DA4E1CF31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8846808">
            <a:off x="525457" y="1335168"/>
            <a:ext cx="5846610" cy="4516695"/>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EF7E4EC8-2973-45C6-FCB8-2BAC4BE176A5}"/>
              </a:ext>
            </a:extLst>
          </p:cNvPr>
          <p:cNvSpPr txBox="1"/>
          <p:nvPr/>
        </p:nvSpPr>
        <p:spPr>
          <a:xfrm>
            <a:off x="452581" y="5875244"/>
            <a:ext cx="11739419" cy="461665"/>
          </a:xfrm>
          <a:prstGeom prst="rect">
            <a:avLst/>
          </a:prstGeom>
          <a:noFill/>
        </p:spPr>
        <p:txBody>
          <a:bodyPr wrap="square">
            <a:spAutoFit/>
          </a:bodyPr>
          <a:lstStyle>
            <a:defPPr>
              <a:defRPr lang="en-BE"/>
            </a:defPPr>
            <a:lvl1pPr>
              <a:defRPr sz="1200">
                <a:solidFill>
                  <a:schemeClr val="bg1"/>
                </a:solidFill>
              </a:defRPr>
            </a:lvl1pPr>
          </a:lstStyle>
          <a:p>
            <a:r>
              <a:rPr lang="en-IE" dirty="0"/>
              <a:t>NIST AI 100-1</a:t>
            </a:r>
          </a:p>
          <a:p>
            <a:r>
              <a:rPr lang="en-IE" sz="1200" dirty="0">
                <a:solidFill>
                  <a:schemeClr val="bg1"/>
                </a:solidFill>
              </a:rPr>
              <a:t>“Risk management refers to coordinated activities to direct and control an organization with regard to risk” (Source: iso 31000:2018).</a:t>
            </a:r>
          </a:p>
        </p:txBody>
      </p:sp>
      <p:sp>
        <p:nvSpPr>
          <p:cNvPr id="24" name="Pentagon 23">
            <a:extLst>
              <a:ext uri="{FF2B5EF4-FFF2-40B4-BE49-F238E27FC236}">
                <a16:creationId xmlns:a16="http://schemas.microsoft.com/office/drawing/2014/main" id="{0839DEA2-CF4E-9CC3-4969-303F1A15295F}"/>
              </a:ext>
            </a:extLst>
          </p:cNvPr>
          <p:cNvSpPr/>
          <p:nvPr/>
        </p:nvSpPr>
        <p:spPr>
          <a:xfrm flipH="1">
            <a:off x="5689599" y="3351199"/>
            <a:ext cx="1871215" cy="484632"/>
          </a:xfrm>
          <a:prstGeom prst="homePlate">
            <a:avLst/>
          </a:prstGeom>
          <a:gradFill flip="none" rotWithShape="1">
            <a:gsLst>
              <a:gs pos="0">
                <a:schemeClr val="bg1">
                  <a:lumMod val="30000"/>
                  <a:lumOff val="70000"/>
                  <a:alpha val="57000"/>
                </a:schemeClr>
              </a:gs>
              <a:gs pos="100000">
                <a:srgbClr val="0E8BAB"/>
              </a:gs>
            </a:gsLst>
            <a:lin ang="10800000" scaled="1"/>
            <a:tileRect/>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p>
        </p:txBody>
      </p:sp>
    </p:spTree>
    <p:extLst>
      <p:ext uri="{BB962C8B-B14F-4D97-AF65-F5344CB8AC3E}">
        <p14:creationId xmlns:p14="http://schemas.microsoft.com/office/powerpoint/2010/main" val="29785236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EED6B-68FD-2D0B-DDB9-BBABCAE3EB9B}"/>
              </a:ext>
            </a:extLst>
          </p:cNvPr>
          <p:cNvSpPr>
            <a:spLocks noGrp="1"/>
          </p:cNvSpPr>
          <p:nvPr>
            <p:ph type="title"/>
          </p:nvPr>
        </p:nvSpPr>
        <p:spPr>
          <a:xfrm>
            <a:off x="452581" y="411307"/>
            <a:ext cx="11321441" cy="978729"/>
          </a:xfrm>
        </p:spPr>
        <p:txBody>
          <a:bodyPr/>
          <a:lstStyle/>
          <a:p>
            <a:r>
              <a:rPr lang="en-IE" dirty="0"/>
              <a:t>AI Lifecycle Activities</a:t>
            </a:r>
            <a:br>
              <a:rPr lang="en-IE" dirty="0"/>
            </a:br>
            <a:r>
              <a:rPr lang="en-IE" dirty="0"/>
              <a:t>Handling the </a:t>
            </a:r>
            <a:r>
              <a:rPr lang="en-IE" sz="3200" dirty="0"/>
              <a:t>“monkey with a hand grenade” AI risks</a:t>
            </a:r>
            <a:endParaRPr lang="en-IE" dirty="0"/>
          </a:p>
        </p:txBody>
      </p:sp>
      <p:sp>
        <p:nvSpPr>
          <p:cNvPr id="3" name="Content Placeholder 2">
            <a:extLst>
              <a:ext uri="{FF2B5EF4-FFF2-40B4-BE49-F238E27FC236}">
                <a16:creationId xmlns:a16="http://schemas.microsoft.com/office/drawing/2014/main" id="{D3E0B620-F9BA-8158-FB7A-7981DA1574C6}"/>
              </a:ext>
            </a:extLst>
          </p:cNvPr>
          <p:cNvSpPr>
            <a:spLocks noGrp="1"/>
          </p:cNvSpPr>
          <p:nvPr>
            <p:ph idx="1"/>
          </p:nvPr>
        </p:nvSpPr>
        <p:spPr>
          <a:xfrm>
            <a:off x="1286933" y="1264570"/>
            <a:ext cx="10905067" cy="4553041"/>
          </a:xfrm>
        </p:spPr>
        <p:txBody>
          <a:bodyPr/>
          <a:lstStyle/>
          <a:p>
            <a:r>
              <a:rPr lang="en-IE" sz="1800" dirty="0"/>
              <a:t>Use Case Planning:</a:t>
            </a:r>
          </a:p>
          <a:p>
            <a:pPr lvl="1"/>
            <a:r>
              <a:rPr lang="en-IE" sz="1400" dirty="0"/>
              <a:t>What’s the purpose/objective of the use case? Are we allowed to do the processing? Are the use cases documented?</a:t>
            </a:r>
          </a:p>
          <a:p>
            <a:r>
              <a:rPr lang="en-IE" sz="1800" dirty="0"/>
              <a:t>Use Case Design:</a:t>
            </a:r>
          </a:p>
          <a:p>
            <a:pPr lvl="1"/>
            <a:r>
              <a:rPr lang="en-IE" sz="1400" dirty="0"/>
              <a:t>Do we have the data to train the model? What about the ownership of the data? Are there any Data Privacy/IP rights constraints? Are there industry specific obligations?</a:t>
            </a:r>
          </a:p>
          <a:p>
            <a:r>
              <a:rPr lang="en-IE" sz="1800" dirty="0"/>
              <a:t>Model Building:</a:t>
            </a:r>
          </a:p>
          <a:p>
            <a:pPr lvl="1"/>
            <a:r>
              <a:rPr lang="en-IE" sz="1400" dirty="0"/>
              <a:t>Are we using the most relevant model approach? Is the relevant data available in the right format? </a:t>
            </a:r>
            <a:br>
              <a:rPr lang="en-IE" sz="1400" dirty="0"/>
            </a:br>
            <a:r>
              <a:rPr lang="en-US" sz="1400" dirty="0">
                <a:effectLst/>
                <a:latin typeface="Calibri" panose="020F0502020204030204" pitchFamily="34" charset="0"/>
                <a:ea typeface="Calibri" panose="020F0502020204030204" pitchFamily="34" charset="0"/>
                <a:cs typeface="Times New Roman" panose="02020603050405020304" pitchFamily="18" charset="0"/>
              </a:rPr>
              <a:t>Will </a:t>
            </a:r>
            <a:r>
              <a:rPr lang="de-DE" sz="1400" dirty="0" err="1">
                <a:effectLst/>
                <a:latin typeface="Calibri" panose="020F0502020204030204" pitchFamily="34" charset="0"/>
                <a:ea typeface="Calibri" panose="020F0502020204030204" pitchFamily="34" charset="0"/>
                <a:cs typeface="Times New Roman" panose="02020603050405020304" pitchFamily="18" charset="0"/>
              </a:rPr>
              <a:t>public</a:t>
            </a:r>
            <a:r>
              <a:rPr lang="de-DE" sz="1400" dirty="0">
                <a:effectLst/>
                <a:latin typeface="Calibri" panose="020F0502020204030204" pitchFamily="34" charset="0"/>
                <a:ea typeface="Calibri" panose="020F0502020204030204" pitchFamily="34" charset="0"/>
                <a:cs typeface="Times New Roman" panose="02020603050405020304" pitchFamily="18" charset="0"/>
              </a:rPr>
              <a:t>- </a:t>
            </a:r>
            <a:r>
              <a:rPr lang="de-DE" sz="1400" dirty="0" err="1">
                <a:effectLst/>
                <a:latin typeface="Calibri" panose="020F0502020204030204" pitchFamily="34" charset="0"/>
                <a:ea typeface="Calibri" panose="020F0502020204030204" pitchFamily="34" charset="0"/>
                <a:cs typeface="Times New Roman" panose="02020603050405020304" pitchFamily="18" charset="0"/>
              </a:rPr>
              <a:t>or</a:t>
            </a:r>
            <a:r>
              <a:rPr lang="de-DE" sz="1400" dirty="0">
                <a:effectLst/>
                <a:latin typeface="Calibri" panose="020F0502020204030204" pitchFamily="34" charset="0"/>
                <a:ea typeface="Calibri" panose="020F0502020204030204" pitchFamily="34" charset="0"/>
                <a:cs typeface="Times New Roman" panose="02020603050405020304" pitchFamily="18" charset="0"/>
              </a:rPr>
              <a:t> GPAI </a:t>
            </a:r>
            <a:r>
              <a:rPr lang="de-DE" sz="1400" dirty="0" err="1">
                <a:effectLst/>
                <a:latin typeface="Calibri" panose="020F0502020204030204" pitchFamily="34" charset="0"/>
                <a:ea typeface="Calibri" panose="020F0502020204030204" pitchFamily="34" charset="0"/>
                <a:cs typeface="Times New Roman" panose="02020603050405020304" pitchFamily="18" charset="0"/>
              </a:rPr>
              <a:t>model</a:t>
            </a:r>
            <a:r>
              <a:rPr lang="de-DE" sz="1400" dirty="0">
                <a:effectLst/>
                <a:latin typeface="Calibri" panose="020F0502020204030204" pitchFamily="34" charset="0"/>
                <a:ea typeface="Calibri" panose="020F0502020204030204" pitchFamily="34" charset="0"/>
                <a:cs typeface="Times New Roman" panose="02020603050405020304" pitchFamily="18" charset="0"/>
              </a:rPr>
              <a:t> </a:t>
            </a:r>
            <a:r>
              <a:rPr lang="de-DE" sz="1400" dirty="0" err="1">
                <a:effectLst/>
                <a:latin typeface="Calibri" panose="020F0502020204030204" pitchFamily="34" charset="0"/>
                <a:ea typeface="Calibri" panose="020F0502020204030204" pitchFamily="34" charset="0"/>
                <a:cs typeface="Times New Roman" panose="02020603050405020304" pitchFamily="18" charset="0"/>
              </a:rPr>
              <a:t>datasets</a:t>
            </a:r>
            <a:r>
              <a:rPr lang="de-DE" sz="1400" dirty="0">
                <a:effectLst/>
                <a:latin typeface="Calibri" panose="020F0502020204030204" pitchFamily="34" charset="0"/>
                <a:ea typeface="Calibri" panose="020F0502020204030204" pitchFamily="34" charset="0"/>
                <a:cs typeface="Times New Roman" panose="02020603050405020304" pitchFamily="18" charset="0"/>
              </a:rPr>
              <a:t>, </a:t>
            </a:r>
            <a:r>
              <a:rPr lang="en-US" sz="1400" dirty="0">
                <a:effectLst/>
                <a:latin typeface="Calibri" panose="020F0502020204030204" pitchFamily="34" charset="0"/>
                <a:ea typeface="Calibri" panose="020F0502020204030204" pitchFamily="34" charset="0"/>
                <a:cs typeface="Times New Roman" panose="02020603050405020304" pitchFamily="18" charset="0"/>
              </a:rPr>
              <a:t>third-party components or open-source models be used? </a:t>
            </a:r>
            <a:r>
              <a:rPr lang="en-US" sz="1400" dirty="0">
                <a:latin typeface="Calibri" panose="020F0502020204030204" pitchFamily="34" charset="0"/>
                <a:ea typeface="Calibri" panose="020F0502020204030204" pitchFamily="34" charset="0"/>
                <a:cs typeface="Times New Roman" panose="02020603050405020304" pitchFamily="18" charset="0"/>
              </a:rPr>
              <a:t>Do we have t</a:t>
            </a:r>
            <a:r>
              <a:rPr lang="en-US" sz="1400" dirty="0">
                <a:effectLst/>
                <a:latin typeface="Calibri" panose="020F0502020204030204" pitchFamily="34" charset="0"/>
                <a:ea typeface="Calibri" panose="020F0502020204030204" pitchFamily="34" charset="0"/>
                <a:cs typeface="Times New Roman" panose="02020603050405020304" pitchFamily="18" charset="0"/>
              </a:rPr>
              <a:t>raining -and testing methodology?</a:t>
            </a:r>
            <a:endParaRPr lang="en-IE" sz="1400" dirty="0"/>
          </a:p>
          <a:p>
            <a:r>
              <a:rPr lang="en-IE" sz="1800" dirty="0"/>
              <a:t>Model Validation:</a:t>
            </a:r>
          </a:p>
          <a:p>
            <a:pPr lvl="1"/>
            <a:r>
              <a:rPr lang="en-IE" sz="1400" dirty="0"/>
              <a:t>Is the model fair and transparent? Is the data quality of the source data sufficient?</a:t>
            </a:r>
          </a:p>
          <a:p>
            <a:r>
              <a:rPr lang="en-IE" sz="1800" dirty="0"/>
              <a:t>Model Deployment:</a:t>
            </a:r>
          </a:p>
          <a:p>
            <a:pPr lvl="1"/>
            <a:r>
              <a:rPr lang="en-IE" sz="1400" dirty="0"/>
              <a:t>Can we do proper model governance? Is the model secure? </a:t>
            </a:r>
          </a:p>
          <a:p>
            <a:r>
              <a:rPr lang="en-IE" sz="1800" dirty="0"/>
              <a:t>Model Operations:</a:t>
            </a:r>
          </a:p>
          <a:p>
            <a:pPr lvl="1"/>
            <a:r>
              <a:rPr lang="en-IE" sz="1400" dirty="0"/>
              <a:t>Is there model drift? Is there human oversight? Can a person exercise  their rights? </a:t>
            </a:r>
            <a:br>
              <a:rPr lang="en-IE" sz="1400" dirty="0"/>
            </a:br>
            <a:r>
              <a:rPr lang="en-IE" sz="1400" dirty="0"/>
              <a:t>Is the full lifecycle documented?</a:t>
            </a:r>
          </a:p>
        </p:txBody>
      </p:sp>
      <p:pic>
        <p:nvPicPr>
          <p:cNvPr id="4" name="Picture 3">
            <a:extLst>
              <a:ext uri="{FF2B5EF4-FFF2-40B4-BE49-F238E27FC236}">
                <a16:creationId xmlns:a16="http://schemas.microsoft.com/office/drawing/2014/main" id="{78AB3B70-5B13-ED71-C47D-6301381BB05B}"/>
              </a:ext>
            </a:extLst>
          </p:cNvPr>
          <p:cNvPicPr>
            <a:picLocks noChangeAspect="1"/>
          </p:cNvPicPr>
          <p:nvPr/>
        </p:nvPicPr>
        <p:blipFill rotWithShape="1">
          <a:blip r:embed="rId2"/>
          <a:srcRect b="60909"/>
          <a:stretch/>
        </p:blipFill>
        <p:spPr>
          <a:xfrm>
            <a:off x="4949560" y="-1790948"/>
            <a:ext cx="7772400" cy="1790948"/>
          </a:xfrm>
          <a:prstGeom prst="rect">
            <a:avLst/>
          </a:prstGeom>
        </p:spPr>
      </p:pic>
      <p:pic>
        <p:nvPicPr>
          <p:cNvPr id="15" name="Picture 14">
            <a:extLst>
              <a:ext uri="{FF2B5EF4-FFF2-40B4-BE49-F238E27FC236}">
                <a16:creationId xmlns:a16="http://schemas.microsoft.com/office/drawing/2014/main" id="{C559153A-BCDC-2420-5857-FC8D14EA6BC0}"/>
              </a:ext>
            </a:extLst>
          </p:cNvPr>
          <p:cNvPicPr>
            <a:picLocks noChangeAspect="1"/>
          </p:cNvPicPr>
          <p:nvPr/>
        </p:nvPicPr>
        <p:blipFill>
          <a:blip r:embed="rId3"/>
          <a:stretch>
            <a:fillRect/>
          </a:stretch>
        </p:blipFill>
        <p:spPr>
          <a:xfrm>
            <a:off x="-5927960" y="1264569"/>
            <a:ext cx="5748078" cy="4743011"/>
          </a:xfrm>
          <a:prstGeom prst="rect">
            <a:avLst/>
          </a:prstGeom>
        </p:spPr>
      </p:pic>
      <p:pic>
        <p:nvPicPr>
          <p:cNvPr id="16" name="Picture 15">
            <a:extLst>
              <a:ext uri="{FF2B5EF4-FFF2-40B4-BE49-F238E27FC236}">
                <a16:creationId xmlns:a16="http://schemas.microsoft.com/office/drawing/2014/main" id="{0ED2564C-0F7C-6EE1-4EBB-11EBC57B07D5}"/>
              </a:ext>
            </a:extLst>
          </p:cNvPr>
          <p:cNvPicPr>
            <a:picLocks noChangeAspect="1"/>
          </p:cNvPicPr>
          <p:nvPr/>
        </p:nvPicPr>
        <p:blipFill rotWithShape="1">
          <a:blip r:embed="rId4"/>
          <a:srcRect l="4082" t="3497" r="3363" b="1858"/>
          <a:stretch/>
        </p:blipFill>
        <p:spPr>
          <a:xfrm>
            <a:off x="-4749850" y="-1417880"/>
            <a:ext cx="3658373" cy="3658373"/>
          </a:xfrm>
          <a:prstGeom prst="ellipse">
            <a:avLst/>
          </a:prstGeom>
        </p:spPr>
      </p:pic>
      <p:grpSp>
        <p:nvGrpSpPr>
          <p:cNvPr id="9" name="Group 8">
            <a:extLst>
              <a:ext uri="{FF2B5EF4-FFF2-40B4-BE49-F238E27FC236}">
                <a16:creationId xmlns:a16="http://schemas.microsoft.com/office/drawing/2014/main" id="{07D5F760-331F-4A6D-5BE1-8C9449258133}"/>
              </a:ext>
            </a:extLst>
          </p:cNvPr>
          <p:cNvGrpSpPr/>
          <p:nvPr/>
        </p:nvGrpSpPr>
        <p:grpSpPr>
          <a:xfrm>
            <a:off x="530110" y="1264569"/>
            <a:ext cx="484633" cy="4803683"/>
            <a:chOff x="530110" y="1605493"/>
            <a:chExt cx="484633" cy="4462759"/>
          </a:xfrm>
        </p:grpSpPr>
        <p:sp>
          <p:nvSpPr>
            <p:cNvPr id="5" name="Chevron 4">
              <a:extLst>
                <a:ext uri="{FF2B5EF4-FFF2-40B4-BE49-F238E27FC236}">
                  <a16:creationId xmlns:a16="http://schemas.microsoft.com/office/drawing/2014/main" id="{ED10E81E-15EA-4338-76F1-77C624410300}"/>
                </a:ext>
              </a:extLst>
            </p:cNvPr>
            <p:cNvSpPr/>
            <p:nvPr/>
          </p:nvSpPr>
          <p:spPr>
            <a:xfrm rot="5400000">
              <a:off x="42706" y="2092897"/>
              <a:ext cx="1459440" cy="484632"/>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1"/>
                </a:solidFill>
              </a:endParaRPr>
            </a:p>
          </p:txBody>
        </p:sp>
        <p:sp>
          <p:nvSpPr>
            <p:cNvPr id="6" name="Chevron 5">
              <a:extLst>
                <a:ext uri="{FF2B5EF4-FFF2-40B4-BE49-F238E27FC236}">
                  <a16:creationId xmlns:a16="http://schemas.microsoft.com/office/drawing/2014/main" id="{B7D123DF-075F-761F-2202-F9C652091808}"/>
                </a:ext>
              </a:extLst>
            </p:cNvPr>
            <p:cNvSpPr/>
            <p:nvPr/>
          </p:nvSpPr>
          <p:spPr>
            <a:xfrm rot="5400000">
              <a:off x="42707" y="3414477"/>
              <a:ext cx="1459438" cy="484632"/>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1"/>
                </a:solidFill>
              </a:endParaRPr>
            </a:p>
          </p:txBody>
        </p:sp>
        <p:sp>
          <p:nvSpPr>
            <p:cNvPr id="7" name="Chevron 6">
              <a:extLst>
                <a:ext uri="{FF2B5EF4-FFF2-40B4-BE49-F238E27FC236}">
                  <a16:creationId xmlns:a16="http://schemas.microsoft.com/office/drawing/2014/main" id="{E7282B3F-39D8-3131-F7E8-8BC44CEE06E1}"/>
                </a:ext>
              </a:extLst>
            </p:cNvPr>
            <p:cNvSpPr/>
            <p:nvPr/>
          </p:nvSpPr>
          <p:spPr>
            <a:xfrm rot="5400000">
              <a:off x="283062" y="5336572"/>
              <a:ext cx="978729" cy="484632"/>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1"/>
                </a:solidFill>
              </a:endParaRPr>
            </a:p>
          </p:txBody>
        </p:sp>
        <p:sp>
          <p:nvSpPr>
            <p:cNvPr id="8" name="Chevron 7">
              <a:extLst>
                <a:ext uri="{FF2B5EF4-FFF2-40B4-BE49-F238E27FC236}">
                  <a16:creationId xmlns:a16="http://schemas.microsoft.com/office/drawing/2014/main" id="{C39DE2E4-7F44-F960-E92A-EC584DA73F63}"/>
                </a:ext>
              </a:extLst>
            </p:cNvPr>
            <p:cNvSpPr/>
            <p:nvPr/>
          </p:nvSpPr>
          <p:spPr>
            <a:xfrm rot="5400000">
              <a:off x="283062" y="4495702"/>
              <a:ext cx="978729" cy="484632"/>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E">
                <a:solidFill>
                  <a:schemeClr val="tx1"/>
                </a:solidFill>
              </a:endParaRPr>
            </a:p>
          </p:txBody>
        </p:sp>
      </p:grpSp>
      <p:pic>
        <p:nvPicPr>
          <p:cNvPr id="13" name="Picture 12" descr="A cartoon monkey holding a grenade&#10;&#10;Description automatically generated">
            <a:extLst>
              <a:ext uri="{FF2B5EF4-FFF2-40B4-BE49-F238E27FC236}">
                <a16:creationId xmlns:a16="http://schemas.microsoft.com/office/drawing/2014/main" id="{BC83D3D5-57E7-B944-1B69-C9586463F5CA}"/>
              </a:ext>
            </a:extLst>
          </p:cNvPr>
          <p:cNvPicPr>
            <a:picLocks noChangeAspect="1"/>
          </p:cNvPicPr>
          <p:nvPr/>
        </p:nvPicPr>
        <p:blipFill>
          <a:blip r:embed="rId5">
            <a:alphaModFix amt="85000"/>
          </a:blip>
          <a:stretch>
            <a:fillRect/>
          </a:stretch>
        </p:blipFill>
        <p:spPr>
          <a:xfrm>
            <a:off x="9679517" y="3782855"/>
            <a:ext cx="2451100" cy="2463800"/>
          </a:xfrm>
          <a:prstGeom prst="rect">
            <a:avLst/>
          </a:prstGeom>
        </p:spPr>
      </p:pic>
      <p:sp>
        <p:nvSpPr>
          <p:cNvPr id="14" name="TextBox 13">
            <a:extLst>
              <a:ext uri="{FF2B5EF4-FFF2-40B4-BE49-F238E27FC236}">
                <a16:creationId xmlns:a16="http://schemas.microsoft.com/office/drawing/2014/main" id="{0FC2482A-EA79-5F4F-C72D-10EA1D5E2713}"/>
              </a:ext>
            </a:extLst>
          </p:cNvPr>
          <p:cNvSpPr txBox="1"/>
          <p:nvPr/>
        </p:nvSpPr>
        <p:spPr>
          <a:xfrm>
            <a:off x="8654655" y="6083592"/>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spTree>
    <p:extLst>
      <p:ext uri="{BB962C8B-B14F-4D97-AF65-F5344CB8AC3E}">
        <p14:creationId xmlns:p14="http://schemas.microsoft.com/office/powerpoint/2010/main" val="19301677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0E3280-B6FB-39BD-81B5-D489A261F054}"/>
              </a:ext>
            </a:extLst>
          </p:cNvPr>
          <p:cNvSpPr>
            <a:spLocks noGrp="1"/>
          </p:cNvSpPr>
          <p:nvPr>
            <p:ph type="title"/>
          </p:nvPr>
        </p:nvSpPr>
        <p:spPr>
          <a:xfrm>
            <a:off x="452581" y="411307"/>
            <a:ext cx="11321441" cy="535531"/>
          </a:xfrm>
        </p:spPr>
        <p:txBody>
          <a:bodyPr/>
          <a:lstStyle/>
          <a:p>
            <a:r>
              <a:rPr lang="en-IE" dirty="0"/>
              <a:t>Towards a mature AI Governance Framework</a:t>
            </a:r>
          </a:p>
        </p:txBody>
      </p:sp>
      <p:sp>
        <p:nvSpPr>
          <p:cNvPr id="3" name="Content Placeholder 2">
            <a:extLst>
              <a:ext uri="{FF2B5EF4-FFF2-40B4-BE49-F238E27FC236}">
                <a16:creationId xmlns:a16="http://schemas.microsoft.com/office/drawing/2014/main" id="{C57BCAB7-EAF4-EE24-EE84-F3251D585F2A}"/>
              </a:ext>
            </a:extLst>
          </p:cNvPr>
          <p:cNvSpPr>
            <a:spLocks noGrp="1"/>
          </p:cNvSpPr>
          <p:nvPr>
            <p:ph idx="1"/>
          </p:nvPr>
        </p:nvSpPr>
        <p:spPr>
          <a:xfrm>
            <a:off x="638407" y="1186218"/>
            <a:ext cx="10915185" cy="646331"/>
          </a:xfrm>
        </p:spPr>
        <p:txBody>
          <a:bodyPr/>
          <a:lstStyle/>
          <a:p>
            <a:r>
              <a:rPr lang="en-IE" dirty="0"/>
              <a:t>How does a typical Data Governance Framework link to a regulatory compliant AI Governance Framework?</a:t>
            </a:r>
          </a:p>
        </p:txBody>
      </p:sp>
      <p:sp>
        <p:nvSpPr>
          <p:cNvPr id="51" name="Rectangle: Rounded Corners 3">
            <a:extLst>
              <a:ext uri="{FF2B5EF4-FFF2-40B4-BE49-F238E27FC236}">
                <a16:creationId xmlns:a16="http://schemas.microsoft.com/office/drawing/2014/main" id="{BC6EA452-194D-9583-D392-41B7F483DE25}"/>
              </a:ext>
            </a:extLst>
          </p:cNvPr>
          <p:cNvSpPr/>
          <p:nvPr/>
        </p:nvSpPr>
        <p:spPr>
          <a:xfrm>
            <a:off x="961118" y="2392342"/>
            <a:ext cx="1311217" cy="5165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FFFFFF"/>
                </a:solidFill>
                <a:effectLst/>
                <a:uLnTx/>
                <a:uFillTx/>
                <a:latin typeface="Arial"/>
                <a:ea typeface="+mn-ea"/>
                <a:cs typeface="+mn-cs"/>
                <a:sym typeface="Arial"/>
              </a:rPr>
              <a:t>Plan</a:t>
            </a:r>
            <a:endParaRPr kumimoji="0" lang="fr-BE" sz="12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2" name="Rectangle: Rounded Corners 4">
            <a:extLst>
              <a:ext uri="{FF2B5EF4-FFF2-40B4-BE49-F238E27FC236}">
                <a16:creationId xmlns:a16="http://schemas.microsoft.com/office/drawing/2014/main" id="{00BBCBFA-F871-70A0-E75E-39EEE014C7F0}"/>
              </a:ext>
            </a:extLst>
          </p:cNvPr>
          <p:cNvSpPr/>
          <p:nvPr/>
        </p:nvSpPr>
        <p:spPr>
          <a:xfrm>
            <a:off x="4387984" y="2392342"/>
            <a:ext cx="1311217" cy="5165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a:ea typeface="+mn-ea"/>
                <a:cs typeface="+mn-cs"/>
                <a:sym typeface="Arial"/>
              </a:rPr>
              <a:t>Implement</a:t>
            </a:r>
            <a:endParaRPr kumimoji="0" lang="fr-BE" sz="1200" b="1"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53" name="Rectangle: Rounded Corners 10">
            <a:extLst>
              <a:ext uri="{FF2B5EF4-FFF2-40B4-BE49-F238E27FC236}">
                <a16:creationId xmlns:a16="http://schemas.microsoft.com/office/drawing/2014/main" id="{9418794F-395A-72DF-574F-F255DA0C032A}"/>
              </a:ext>
            </a:extLst>
          </p:cNvPr>
          <p:cNvSpPr/>
          <p:nvPr/>
        </p:nvSpPr>
        <p:spPr>
          <a:xfrm>
            <a:off x="961118" y="4313079"/>
            <a:ext cx="1311217" cy="5165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FFFFFF"/>
                </a:solidFill>
                <a:effectLst/>
                <a:uLnTx/>
                <a:uFillTx/>
                <a:latin typeface="Arial"/>
                <a:ea typeface="+mn-ea"/>
                <a:cs typeface="+mn-cs"/>
                <a:sym typeface="Arial"/>
              </a:rPr>
              <a:t>Improve</a:t>
            </a:r>
            <a:endParaRPr kumimoji="0" lang="fr-BE" sz="12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4" name="Rectangle: Rounded Corners 11">
            <a:extLst>
              <a:ext uri="{FF2B5EF4-FFF2-40B4-BE49-F238E27FC236}">
                <a16:creationId xmlns:a16="http://schemas.microsoft.com/office/drawing/2014/main" id="{D6018890-3A98-5652-13BF-95325BD81FAC}"/>
              </a:ext>
            </a:extLst>
          </p:cNvPr>
          <p:cNvSpPr/>
          <p:nvPr/>
        </p:nvSpPr>
        <p:spPr>
          <a:xfrm>
            <a:off x="4397740" y="4313079"/>
            <a:ext cx="1311217" cy="51654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FFFFFF"/>
                </a:solidFill>
                <a:effectLst/>
                <a:uLnTx/>
                <a:uFillTx/>
                <a:latin typeface="Arial"/>
                <a:ea typeface="+mn-ea"/>
                <a:cs typeface="+mn-cs"/>
                <a:sym typeface="Arial"/>
              </a:rPr>
              <a:t>Monitor</a:t>
            </a:r>
            <a:endParaRPr kumimoji="0" lang="fr-BE" sz="12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5" name="Arrow: U-Turn 15">
            <a:extLst>
              <a:ext uri="{FF2B5EF4-FFF2-40B4-BE49-F238E27FC236}">
                <a16:creationId xmlns:a16="http://schemas.microsoft.com/office/drawing/2014/main" id="{A162FE3C-2CBC-0CC2-52B9-9EE86BD82A9D}"/>
              </a:ext>
            </a:extLst>
          </p:cNvPr>
          <p:cNvSpPr/>
          <p:nvPr/>
        </p:nvSpPr>
        <p:spPr>
          <a:xfrm rot="16200000">
            <a:off x="-267954" y="3410159"/>
            <a:ext cx="2102760" cy="290038"/>
          </a:xfrm>
          <a:prstGeom prst="uturnArrow">
            <a:avLst>
              <a:gd name="adj1" fmla="val 17104"/>
              <a:gd name="adj2" fmla="val 25000"/>
              <a:gd name="adj3" fmla="val 21904"/>
              <a:gd name="adj4" fmla="val 30592"/>
              <a:gd name="adj5" fmla="val 99768"/>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BE" sz="1867"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56" name="Arrow: Right 16">
            <a:extLst>
              <a:ext uri="{FF2B5EF4-FFF2-40B4-BE49-F238E27FC236}">
                <a16:creationId xmlns:a16="http://schemas.microsoft.com/office/drawing/2014/main" id="{E03553FC-F4A6-958C-2685-3B4C79EA3D2D}"/>
              </a:ext>
            </a:extLst>
          </p:cNvPr>
          <p:cNvSpPr/>
          <p:nvPr/>
        </p:nvSpPr>
        <p:spPr>
          <a:xfrm>
            <a:off x="2305007" y="2577928"/>
            <a:ext cx="2076615" cy="138304"/>
          </a:xfrm>
          <a:prstGeom prst="righ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BE"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7" name="Arrow: Down 17">
            <a:extLst>
              <a:ext uri="{FF2B5EF4-FFF2-40B4-BE49-F238E27FC236}">
                <a16:creationId xmlns:a16="http://schemas.microsoft.com/office/drawing/2014/main" id="{6779ACEB-88CF-62C6-A0C7-517C941F71BB}"/>
              </a:ext>
            </a:extLst>
          </p:cNvPr>
          <p:cNvSpPr/>
          <p:nvPr/>
        </p:nvSpPr>
        <p:spPr>
          <a:xfrm>
            <a:off x="4772806" y="2955066"/>
            <a:ext cx="120852" cy="299138"/>
          </a:xfrm>
          <a:prstGeom prst="down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BE"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8" name="Arrow: Down 18">
            <a:extLst>
              <a:ext uri="{FF2B5EF4-FFF2-40B4-BE49-F238E27FC236}">
                <a16:creationId xmlns:a16="http://schemas.microsoft.com/office/drawing/2014/main" id="{8B44055B-F6E3-743B-8334-A3F46934DAD3}"/>
              </a:ext>
            </a:extLst>
          </p:cNvPr>
          <p:cNvSpPr/>
          <p:nvPr/>
        </p:nvSpPr>
        <p:spPr>
          <a:xfrm>
            <a:off x="4770975" y="3985362"/>
            <a:ext cx="120852" cy="299138"/>
          </a:xfrm>
          <a:prstGeom prst="down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BE" sz="1867"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59" name="Group 58">
            <a:extLst>
              <a:ext uri="{FF2B5EF4-FFF2-40B4-BE49-F238E27FC236}">
                <a16:creationId xmlns:a16="http://schemas.microsoft.com/office/drawing/2014/main" id="{B47F6694-83F8-E9A4-B6BE-BE479DBAF309}"/>
              </a:ext>
            </a:extLst>
          </p:cNvPr>
          <p:cNvGrpSpPr/>
          <p:nvPr/>
        </p:nvGrpSpPr>
        <p:grpSpPr>
          <a:xfrm>
            <a:off x="895772" y="3081707"/>
            <a:ext cx="7042845" cy="1058550"/>
            <a:chOff x="1768415" y="2907389"/>
            <a:chExt cx="10227043" cy="1058550"/>
          </a:xfrm>
        </p:grpSpPr>
        <p:sp>
          <p:nvSpPr>
            <p:cNvPr id="60" name="Rectangle: Rounded Corners 19">
              <a:extLst>
                <a:ext uri="{FF2B5EF4-FFF2-40B4-BE49-F238E27FC236}">
                  <a16:creationId xmlns:a16="http://schemas.microsoft.com/office/drawing/2014/main" id="{A0F9CE73-5EEE-BBB8-A0C9-077C886A6B5A}"/>
                </a:ext>
              </a:extLst>
            </p:cNvPr>
            <p:cNvSpPr/>
            <p:nvPr/>
          </p:nvSpPr>
          <p:spPr>
            <a:xfrm>
              <a:off x="3454400" y="2907389"/>
              <a:ext cx="8541058" cy="1058550"/>
            </a:xfrm>
            <a:prstGeom prst="roundRect">
              <a:avLst/>
            </a:prstGeom>
            <a:solidFill>
              <a:schemeClr val="bg2">
                <a:lumMod val="40000"/>
                <a:lumOff val="60000"/>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BE"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1" name="Rectangle: Rounded Corners 13">
              <a:extLst>
                <a:ext uri="{FF2B5EF4-FFF2-40B4-BE49-F238E27FC236}">
                  <a16:creationId xmlns:a16="http://schemas.microsoft.com/office/drawing/2014/main" id="{4CC77B66-F866-3B29-7F61-A510444057D9}"/>
                </a:ext>
              </a:extLst>
            </p:cNvPr>
            <p:cNvSpPr/>
            <p:nvPr/>
          </p:nvSpPr>
          <p:spPr>
            <a:xfrm>
              <a:off x="1768415" y="3019416"/>
              <a:ext cx="8005313" cy="834496"/>
            </a:xfrm>
            <a:prstGeom prst="roundRect">
              <a:avLst/>
            </a:prstGeom>
            <a:solidFill>
              <a:schemeClr val="accent1">
                <a:lumMod val="20000"/>
                <a:lumOff val="80000"/>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BE"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2" name="Rectangle: Rounded Corners 5">
              <a:extLst>
                <a:ext uri="{FF2B5EF4-FFF2-40B4-BE49-F238E27FC236}">
                  <a16:creationId xmlns:a16="http://schemas.microsoft.com/office/drawing/2014/main" id="{B9EE2ED1-6531-0E64-0967-3368957E30F2}"/>
                </a:ext>
              </a:extLst>
            </p:cNvPr>
            <p:cNvSpPr/>
            <p:nvPr/>
          </p:nvSpPr>
          <p:spPr>
            <a:xfrm>
              <a:off x="1863306" y="3178392"/>
              <a:ext cx="1259456" cy="51654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000000"/>
                  </a:solidFill>
                  <a:effectLst/>
                  <a:uLnTx/>
                  <a:uFillTx/>
                  <a:latin typeface="Arial"/>
                  <a:ea typeface="+mn-ea"/>
                  <a:cs typeface="+mn-cs"/>
                  <a:sym typeface="Arial"/>
                </a:rPr>
                <a:t>Specify</a:t>
              </a:r>
              <a:endParaRPr kumimoji="0" lang="fr-BE" sz="1200" b="1" i="0" u="none" strike="noStrike" kern="0" cap="none" spc="0" normalizeH="0" baseline="0" noProof="0" dirty="0">
                <a:ln>
                  <a:noFill/>
                </a:ln>
                <a:solidFill>
                  <a:srgbClr val="000000"/>
                </a:solidFill>
                <a:effectLst/>
                <a:uLnTx/>
                <a:uFillTx/>
                <a:latin typeface="Arial"/>
                <a:ea typeface="+mn-ea"/>
                <a:cs typeface="+mn-cs"/>
                <a:sym typeface="Arial"/>
              </a:endParaRPr>
            </a:p>
          </p:txBody>
        </p:sp>
        <p:sp>
          <p:nvSpPr>
            <p:cNvPr id="63" name="Rectangle: Rounded Corners 6">
              <a:extLst>
                <a:ext uri="{FF2B5EF4-FFF2-40B4-BE49-F238E27FC236}">
                  <a16:creationId xmlns:a16="http://schemas.microsoft.com/office/drawing/2014/main" id="{B2AD8764-15B4-0A53-F092-430824381183}"/>
                </a:ext>
              </a:extLst>
            </p:cNvPr>
            <p:cNvSpPr/>
            <p:nvPr/>
          </p:nvSpPr>
          <p:spPr>
            <a:xfrm>
              <a:off x="5190226" y="3178392"/>
              <a:ext cx="1259456" cy="51654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Maintain</a:t>
              </a:r>
              <a:endParaRPr kumimoji="0" lang="fr-BE" sz="12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64" name="Rectangle: Rounded Corners 7">
              <a:extLst>
                <a:ext uri="{FF2B5EF4-FFF2-40B4-BE49-F238E27FC236}">
                  <a16:creationId xmlns:a16="http://schemas.microsoft.com/office/drawing/2014/main" id="{3F9364C1-71DC-E09E-87F6-89CA3B88A99C}"/>
                </a:ext>
              </a:extLst>
            </p:cNvPr>
            <p:cNvSpPr/>
            <p:nvPr/>
          </p:nvSpPr>
          <p:spPr>
            <a:xfrm>
              <a:off x="3526766" y="3178392"/>
              <a:ext cx="1259456" cy="51654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Create</a:t>
              </a:r>
              <a:br>
                <a:rPr kumimoji="0" lang="en-GB" sz="1200" b="1" i="0" u="none" strike="noStrike" kern="0" cap="none" spc="0" normalizeH="0" baseline="0" noProof="0">
                  <a:ln>
                    <a:noFill/>
                  </a:ln>
                  <a:solidFill>
                    <a:srgbClr val="000000"/>
                  </a:solidFill>
                  <a:effectLst/>
                  <a:uLnTx/>
                  <a:uFillTx/>
                  <a:latin typeface="Arial"/>
                  <a:ea typeface="+mn-ea"/>
                  <a:cs typeface="+mn-cs"/>
                  <a:sym typeface="Arial"/>
                </a:rPr>
              </a:br>
              <a:r>
                <a:rPr kumimoji="0" lang="en-GB" sz="1200" b="1" i="0" u="none" strike="noStrike" kern="0" cap="none" spc="0" normalizeH="0" baseline="0" noProof="0">
                  <a:ln>
                    <a:noFill/>
                  </a:ln>
                  <a:solidFill>
                    <a:srgbClr val="000000"/>
                  </a:solidFill>
                  <a:effectLst/>
                  <a:uLnTx/>
                  <a:uFillTx/>
                  <a:latin typeface="Arial"/>
                  <a:ea typeface="+mn-ea"/>
                  <a:cs typeface="+mn-cs"/>
                  <a:sym typeface="Arial"/>
                </a:rPr>
                <a:t>&amp; Acquire</a:t>
              </a:r>
              <a:endParaRPr kumimoji="0" lang="fr-BE" sz="12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65" name="Rectangle: Rounded Corners 9">
              <a:extLst>
                <a:ext uri="{FF2B5EF4-FFF2-40B4-BE49-F238E27FC236}">
                  <a16:creationId xmlns:a16="http://schemas.microsoft.com/office/drawing/2014/main" id="{3903DA3B-BBAC-8C7E-CC89-C5B1A931FE52}"/>
                </a:ext>
              </a:extLst>
            </p:cNvPr>
            <p:cNvSpPr/>
            <p:nvPr/>
          </p:nvSpPr>
          <p:spPr>
            <a:xfrm>
              <a:off x="6853686" y="3178392"/>
              <a:ext cx="1259456" cy="51654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Use</a:t>
              </a:r>
              <a:endParaRPr kumimoji="0" lang="fr-BE" sz="12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66" name="Rectangle: Rounded Corners 12">
              <a:extLst>
                <a:ext uri="{FF2B5EF4-FFF2-40B4-BE49-F238E27FC236}">
                  <a16:creationId xmlns:a16="http://schemas.microsoft.com/office/drawing/2014/main" id="{ED670BD6-A0BD-C31C-0264-C9F9C629D310}"/>
                </a:ext>
              </a:extLst>
            </p:cNvPr>
            <p:cNvSpPr/>
            <p:nvPr/>
          </p:nvSpPr>
          <p:spPr>
            <a:xfrm>
              <a:off x="8412193" y="3178392"/>
              <a:ext cx="1259456" cy="516544"/>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sym typeface="Arial"/>
                </a:rPr>
                <a:t>Dispose</a:t>
              </a:r>
              <a:endParaRPr kumimoji="0" lang="fr-BE" sz="12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67" name="Arrow: Right 20">
              <a:extLst>
                <a:ext uri="{FF2B5EF4-FFF2-40B4-BE49-F238E27FC236}">
                  <a16:creationId xmlns:a16="http://schemas.microsoft.com/office/drawing/2014/main" id="{CF0E46F7-E306-4EE7-F836-402ED8231074}"/>
                </a:ext>
              </a:extLst>
            </p:cNvPr>
            <p:cNvSpPr/>
            <p:nvPr/>
          </p:nvSpPr>
          <p:spPr>
            <a:xfrm>
              <a:off x="9846094" y="3218443"/>
              <a:ext cx="655782" cy="436442"/>
            </a:xfrm>
            <a:prstGeom prst="rightArrow">
              <a:avLst/>
            </a:prstGeom>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BE" sz="1867" b="0"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68" name="TextBox 67">
              <a:extLst>
                <a:ext uri="{FF2B5EF4-FFF2-40B4-BE49-F238E27FC236}">
                  <a16:creationId xmlns:a16="http://schemas.microsoft.com/office/drawing/2014/main" id="{07436D8E-356B-A308-A5C5-BB103DF469E6}"/>
                </a:ext>
              </a:extLst>
            </p:cNvPr>
            <p:cNvSpPr txBox="1"/>
            <p:nvPr/>
          </p:nvSpPr>
          <p:spPr>
            <a:xfrm>
              <a:off x="10495658" y="3205832"/>
              <a:ext cx="118282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chemeClr val="accent6"/>
                  </a:solidFill>
                  <a:effectLst/>
                  <a:uLnTx/>
                  <a:uFillTx/>
                  <a:latin typeface="Arial"/>
                  <a:cs typeface="Arial"/>
                  <a:sym typeface="Arial"/>
                </a:rPr>
                <a:t>Business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chemeClr val="accent6"/>
                  </a:solidFill>
                  <a:effectLst/>
                  <a:uLnTx/>
                  <a:uFillTx/>
                  <a:latin typeface="Arial"/>
                  <a:cs typeface="Arial"/>
                  <a:sym typeface="Arial"/>
                </a:rPr>
                <a:t>Processes</a:t>
              </a:r>
            </a:p>
          </p:txBody>
        </p:sp>
      </p:grpSp>
      <p:sp>
        <p:nvSpPr>
          <p:cNvPr id="73" name="Arrow: Left 25">
            <a:extLst>
              <a:ext uri="{FF2B5EF4-FFF2-40B4-BE49-F238E27FC236}">
                <a16:creationId xmlns:a16="http://schemas.microsoft.com/office/drawing/2014/main" id="{9A9C794E-A3C5-EAD5-9078-FD10F499237B}"/>
              </a:ext>
            </a:extLst>
          </p:cNvPr>
          <p:cNvSpPr/>
          <p:nvPr/>
        </p:nvSpPr>
        <p:spPr>
          <a:xfrm>
            <a:off x="2305007" y="4513778"/>
            <a:ext cx="2076616" cy="148101"/>
          </a:xfrm>
          <a:prstGeom prst="leftArrow">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BE" sz="1867"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125" name="Group 124">
            <a:extLst>
              <a:ext uri="{FF2B5EF4-FFF2-40B4-BE49-F238E27FC236}">
                <a16:creationId xmlns:a16="http://schemas.microsoft.com/office/drawing/2014/main" id="{6048CF84-E1BF-9161-D376-19D594CCAB64}"/>
              </a:ext>
            </a:extLst>
          </p:cNvPr>
          <p:cNvGrpSpPr/>
          <p:nvPr/>
        </p:nvGrpSpPr>
        <p:grpSpPr>
          <a:xfrm>
            <a:off x="252574" y="5296494"/>
            <a:ext cx="1503599" cy="942618"/>
            <a:chOff x="252574" y="5296494"/>
            <a:chExt cx="1503599" cy="942618"/>
          </a:xfrm>
        </p:grpSpPr>
        <p:grpSp>
          <p:nvGrpSpPr>
            <p:cNvPr id="69" name="Group 68">
              <a:extLst>
                <a:ext uri="{FF2B5EF4-FFF2-40B4-BE49-F238E27FC236}">
                  <a16:creationId xmlns:a16="http://schemas.microsoft.com/office/drawing/2014/main" id="{FEDB2F7A-9FF8-D442-45C0-DFA95E46A8B2}"/>
                </a:ext>
              </a:extLst>
            </p:cNvPr>
            <p:cNvGrpSpPr/>
            <p:nvPr/>
          </p:nvGrpSpPr>
          <p:grpSpPr>
            <a:xfrm>
              <a:off x="252574" y="5296494"/>
              <a:ext cx="1499371" cy="688557"/>
              <a:chOff x="5758009" y="5054246"/>
              <a:chExt cx="2177264" cy="688557"/>
            </a:xfrm>
          </p:grpSpPr>
          <p:sp>
            <p:nvSpPr>
              <p:cNvPr id="70" name="Rectangle: Rounded Corners 22">
                <a:extLst>
                  <a:ext uri="{FF2B5EF4-FFF2-40B4-BE49-F238E27FC236}">
                    <a16:creationId xmlns:a16="http://schemas.microsoft.com/office/drawing/2014/main" id="{8BBBE201-C113-7F5A-2E86-F70DC6A3F19C}"/>
                  </a:ext>
                </a:extLst>
              </p:cNvPr>
              <p:cNvSpPr/>
              <p:nvPr/>
            </p:nvSpPr>
            <p:spPr>
              <a:xfrm>
                <a:off x="5758009" y="5054246"/>
                <a:ext cx="2177264" cy="17638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1" i="0" u="none" strike="noStrike" kern="0" cap="none" spc="0" normalizeH="0" baseline="0" noProof="0">
                    <a:ln>
                      <a:noFill/>
                    </a:ln>
                    <a:solidFill>
                      <a:srgbClr val="000000"/>
                    </a:solidFill>
                    <a:effectLst/>
                    <a:uLnTx/>
                    <a:uFillTx/>
                    <a:latin typeface="Arial"/>
                    <a:ea typeface="+mn-ea"/>
                    <a:cs typeface="+mn-cs"/>
                    <a:sym typeface="Arial"/>
                  </a:rPr>
                  <a:t>Data Lifecycle</a:t>
                </a:r>
                <a:endParaRPr kumimoji="0" lang="fr-BE" sz="900" b="1" i="0" u="none" strike="noStrike" kern="0" cap="none" spc="0" normalizeH="0" baseline="0" noProof="0">
                  <a:ln>
                    <a:noFill/>
                  </a:ln>
                  <a:solidFill>
                    <a:srgbClr val="000000"/>
                  </a:solidFill>
                  <a:effectLst/>
                  <a:uLnTx/>
                  <a:uFillTx/>
                  <a:latin typeface="Arial"/>
                  <a:ea typeface="+mn-ea"/>
                  <a:cs typeface="+mn-cs"/>
                  <a:sym typeface="Arial"/>
                </a:endParaRPr>
              </a:p>
            </p:txBody>
          </p:sp>
          <p:sp>
            <p:nvSpPr>
              <p:cNvPr id="71" name="Rectangle: Rounded Corners 23">
                <a:extLst>
                  <a:ext uri="{FF2B5EF4-FFF2-40B4-BE49-F238E27FC236}">
                    <a16:creationId xmlns:a16="http://schemas.microsoft.com/office/drawing/2014/main" id="{698A5A9B-A54C-7379-75DE-16368DA2B944}"/>
                  </a:ext>
                </a:extLst>
              </p:cNvPr>
              <p:cNvSpPr/>
              <p:nvPr/>
            </p:nvSpPr>
            <p:spPr>
              <a:xfrm>
                <a:off x="5758009" y="5305713"/>
                <a:ext cx="2177263" cy="17638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1" i="0" u="none" strike="noStrike" kern="0" cap="none" spc="0" normalizeH="0" baseline="0" noProof="0">
                    <a:ln>
                      <a:noFill/>
                    </a:ln>
                    <a:solidFill>
                      <a:srgbClr val="FFFFFF"/>
                    </a:solidFill>
                    <a:effectLst/>
                    <a:uLnTx/>
                    <a:uFillTx/>
                    <a:latin typeface="Arial"/>
                    <a:ea typeface="+mn-ea"/>
                    <a:cs typeface="+mn-cs"/>
                    <a:sym typeface="Arial"/>
                  </a:rPr>
                  <a:t>Data Governance</a:t>
                </a:r>
                <a:endParaRPr kumimoji="0" lang="fr-BE" sz="900" b="1"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2" name="Rectangle: Rounded Corners 24">
                <a:extLst>
                  <a:ext uri="{FF2B5EF4-FFF2-40B4-BE49-F238E27FC236}">
                    <a16:creationId xmlns:a16="http://schemas.microsoft.com/office/drawing/2014/main" id="{830FF08D-FADA-16D0-6C80-E9FACC289ADA}"/>
                  </a:ext>
                </a:extLst>
              </p:cNvPr>
              <p:cNvSpPr/>
              <p:nvPr/>
            </p:nvSpPr>
            <p:spPr>
              <a:xfrm>
                <a:off x="5758010" y="5566415"/>
                <a:ext cx="2177262" cy="176388"/>
              </a:xfrm>
              <a:prstGeom prst="roundRect">
                <a:avLst/>
              </a:prstGeom>
              <a:solidFill>
                <a:schemeClr val="bg2">
                  <a:lumMod val="40000"/>
                  <a:lumOff val="60000"/>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1" i="0" u="none" strike="noStrike" kern="0" cap="none" spc="0" normalizeH="0" baseline="0" noProof="0" dirty="0">
                    <a:ln>
                      <a:noFill/>
                    </a:ln>
                    <a:solidFill>
                      <a:schemeClr val="accent6"/>
                    </a:solidFill>
                    <a:effectLst/>
                    <a:uLnTx/>
                    <a:uFillTx/>
                    <a:latin typeface="Arial"/>
                    <a:ea typeface="+mn-ea"/>
                    <a:cs typeface="+mn-cs"/>
                    <a:sym typeface="Arial"/>
                  </a:rPr>
                  <a:t>Business Process</a:t>
                </a:r>
                <a:endParaRPr kumimoji="0" lang="fr-BE" sz="900" b="1" i="0" u="none" strike="noStrike" kern="0" cap="none" spc="0" normalizeH="0" baseline="0" noProof="0" dirty="0">
                  <a:ln>
                    <a:noFill/>
                  </a:ln>
                  <a:solidFill>
                    <a:schemeClr val="accent6"/>
                  </a:solidFill>
                  <a:effectLst/>
                  <a:uLnTx/>
                  <a:uFillTx/>
                  <a:latin typeface="Arial"/>
                  <a:ea typeface="+mn-ea"/>
                  <a:cs typeface="+mn-cs"/>
                  <a:sym typeface="Arial"/>
                </a:endParaRPr>
              </a:p>
            </p:txBody>
          </p:sp>
        </p:grpSp>
        <p:sp>
          <p:nvSpPr>
            <p:cNvPr id="124" name="Rectangle: Rounded Corners 24">
              <a:extLst>
                <a:ext uri="{FF2B5EF4-FFF2-40B4-BE49-F238E27FC236}">
                  <a16:creationId xmlns:a16="http://schemas.microsoft.com/office/drawing/2014/main" id="{D05A13B7-4822-F5AB-080C-CED810B7B4F4}"/>
                </a:ext>
              </a:extLst>
            </p:cNvPr>
            <p:cNvSpPr/>
            <p:nvPr/>
          </p:nvSpPr>
          <p:spPr>
            <a:xfrm>
              <a:off x="256803" y="6062724"/>
              <a:ext cx="1499370" cy="176388"/>
            </a:xfrm>
            <a:prstGeom prst="roundRect">
              <a:avLst/>
            </a:prstGeom>
            <a:solidFill>
              <a:schemeClr val="accent2">
                <a:lumMod val="20000"/>
                <a:lumOff val="80000"/>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1" i="0" u="none" strike="noStrike" kern="0" cap="none" spc="0" normalizeH="0" baseline="0" noProof="0" dirty="0">
                  <a:ln>
                    <a:noFill/>
                  </a:ln>
                  <a:solidFill>
                    <a:schemeClr val="accent2"/>
                  </a:solidFill>
                  <a:effectLst/>
                  <a:uLnTx/>
                  <a:uFillTx/>
                  <a:latin typeface="Arial"/>
                  <a:ea typeface="+mn-ea"/>
                  <a:cs typeface="+mn-cs"/>
                  <a:sym typeface="Arial"/>
                </a:rPr>
                <a:t>AI </a:t>
              </a:r>
              <a:r>
                <a:rPr lang="en-GB" sz="900" b="1" kern="0" dirty="0">
                  <a:solidFill>
                    <a:schemeClr val="accent2"/>
                  </a:solidFill>
                  <a:latin typeface="Arial"/>
                  <a:sym typeface="Arial"/>
                </a:rPr>
                <a:t>USE CASE</a:t>
              </a:r>
              <a:endParaRPr kumimoji="0" lang="fr-BE" sz="900" b="1" i="0" u="none" strike="noStrike" kern="0" cap="none" spc="0" normalizeH="0" baseline="0" noProof="0" dirty="0">
                <a:ln>
                  <a:noFill/>
                </a:ln>
                <a:solidFill>
                  <a:schemeClr val="accent2"/>
                </a:solidFill>
                <a:effectLst/>
                <a:uLnTx/>
                <a:uFillTx/>
                <a:latin typeface="Arial"/>
                <a:ea typeface="+mn-ea"/>
                <a:cs typeface="+mn-cs"/>
                <a:sym typeface="Arial"/>
              </a:endParaRPr>
            </a:p>
          </p:txBody>
        </p:sp>
      </p:grpSp>
      <p:pic>
        <p:nvPicPr>
          <p:cNvPr id="126" name="Picture 2">
            <a:extLst>
              <a:ext uri="{FF2B5EF4-FFF2-40B4-BE49-F238E27FC236}">
                <a16:creationId xmlns:a16="http://schemas.microsoft.com/office/drawing/2014/main" id="{A7A4DA78-1D8E-E59B-4E96-C4588DC2C8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8846808">
            <a:off x="7162037" y="1459053"/>
            <a:ext cx="5846610" cy="4516695"/>
          </a:xfrm>
          <a:prstGeom prst="rect">
            <a:avLst/>
          </a:prstGeom>
          <a:noFill/>
          <a:extLst>
            <a:ext uri="{909E8E84-426E-40DD-AFC4-6F175D3DCCD1}">
              <a14:hiddenFill xmlns:a14="http://schemas.microsoft.com/office/drawing/2010/main">
                <a:solidFill>
                  <a:srgbClr val="FFFFFF"/>
                </a:solidFill>
              </a14:hiddenFill>
            </a:ext>
          </a:extLst>
        </p:spPr>
      </p:pic>
      <p:sp>
        <p:nvSpPr>
          <p:cNvPr id="127" name="TextBox 126">
            <a:extLst>
              <a:ext uri="{FF2B5EF4-FFF2-40B4-BE49-F238E27FC236}">
                <a16:creationId xmlns:a16="http://schemas.microsoft.com/office/drawing/2014/main" id="{481F438A-FF28-8070-0DF7-F8969ED2568C}"/>
              </a:ext>
            </a:extLst>
          </p:cNvPr>
          <p:cNvSpPr txBox="1"/>
          <p:nvPr/>
        </p:nvSpPr>
        <p:spPr>
          <a:xfrm>
            <a:off x="6862452" y="5896857"/>
            <a:ext cx="5204791" cy="276999"/>
          </a:xfrm>
          <a:prstGeom prst="rect">
            <a:avLst/>
          </a:prstGeom>
          <a:noFill/>
        </p:spPr>
        <p:txBody>
          <a:bodyPr wrap="square">
            <a:spAutoFit/>
          </a:bodyPr>
          <a:lstStyle>
            <a:defPPr>
              <a:defRPr lang="en-BE"/>
            </a:defPPr>
            <a:lvl1pPr>
              <a:defRPr sz="1200">
                <a:solidFill>
                  <a:schemeClr val="bg1"/>
                </a:solidFill>
              </a:defRPr>
            </a:lvl1pPr>
          </a:lstStyle>
          <a:p>
            <a:pPr algn="r"/>
            <a:r>
              <a:rPr lang="en-IE" dirty="0"/>
              <a:t>NIST AI 100-1 </a:t>
            </a:r>
          </a:p>
        </p:txBody>
      </p:sp>
      <p:sp>
        <p:nvSpPr>
          <p:cNvPr id="19456" name="Oval 19455">
            <a:extLst>
              <a:ext uri="{FF2B5EF4-FFF2-40B4-BE49-F238E27FC236}">
                <a16:creationId xmlns:a16="http://schemas.microsoft.com/office/drawing/2014/main" id="{41C896FF-0673-CDFE-B7DD-C3FDA2547FDA}"/>
              </a:ext>
            </a:extLst>
          </p:cNvPr>
          <p:cNvSpPr/>
          <p:nvPr/>
        </p:nvSpPr>
        <p:spPr>
          <a:xfrm>
            <a:off x="8803177" y="3088379"/>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1</a:t>
            </a:r>
          </a:p>
        </p:txBody>
      </p:sp>
      <p:sp>
        <p:nvSpPr>
          <p:cNvPr id="19457" name="Oval 19456">
            <a:extLst>
              <a:ext uri="{FF2B5EF4-FFF2-40B4-BE49-F238E27FC236}">
                <a16:creationId xmlns:a16="http://schemas.microsoft.com/office/drawing/2014/main" id="{5263471B-D2C8-22D8-737C-A6168F751F7F}"/>
              </a:ext>
            </a:extLst>
          </p:cNvPr>
          <p:cNvSpPr/>
          <p:nvPr/>
        </p:nvSpPr>
        <p:spPr>
          <a:xfrm>
            <a:off x="1978466" y="2288133"/>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1</a:t>
            </a:r>
          </a:p>
        </p:txBody>
      </p:sp>
      <p:sp>
        <p:nvSpPr>
          <p:cNvPr id="19459" name="Oval 19458">
            <a:extLst>
              <a:ext uri="{FF2B5EF4-FFF2-40B4-BE49-F238E27FC236}">
                <a16:creationId xmlns:a16="http://schemas.microsoft.com/office/drawing/2014/main" id="{F00471E9-25C1-4DA8-C8B8-AE23BC9A39AD}"/>
              </a:ext>
            </a:extLst>
          </p:cNvPr>
          <p:cNvSpPr/>
          <p:nvPr/>
        </p:nvSpPr>
        <p:spPr>
          <a:xfrm>
            <a:off x="2794428" y="3258833"/>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2</a:t>
            </a:r>
          </a:p>
        </p:txBody>
      </p:sp>
      <p:sp>
        <p:nvSpPr>
          <p:cNvPr id="19461" name="Oval 19460">
            <a:extLst>
              <a:ext uri="{FF2B5EF4-FFF2-40B4-BE49-F238E27FC236}">
                <a16:creationId xmlns:a16="http://schemas.microsoft.com/office/drawing/2014/main" id="{B1E209A7-1E2A-9E00-C256-613B8309E132}"/>
              </a:ext>
            </a:extLst>
          </p:cNvPr>
          <p:cNvSpPr/>
          <p:nvPr/>
        </p:nvSpPr>
        <p:spPr>
          <a:xfrm>
            <a:off x="9976708" y="2328249"/>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2</a:t>
            </a:r>
          </a:p>
        </p:txBody>
      </p:sp>
      <p:sp>
        <p:nvSpPr>
          <p:cNvPr id="19462" name="Oval 19461">
            <a:extLst>
              <a:ext uri="{FF2B5EF4-FFF2-40B4-BE49-F238E27FC236}">
                <a16:creationId xmlns:a16="http://schemas.microsoft.com/office/drawing/2014/main" id="{98E7D3BB-DDA8-62D4-B352-B9860AD980E4}"/>
              </a:ext>
            </a:extLst>
          </p:cNvPr>
          <p:cNvSpPr/>
          <p:nvPr/>
        </p:nvSpPr>
        <p:spPr>
          <a:xfrm>
            <a:off x="10962653" y="3026454"/>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3</a:t>
            </a:r>
          </a:p>
        </p:txBody>
      </p:sp>
      <p:sp>
        <p:nvSpPr>
          <p:cNvPr id="19463" name="Oval 19462">
            <a:extLst>
              <a:ext uri="{FF2B5EF4-FFF2-40B4-BE49-F238E27FC236}">
                <a16:creationId xmlns:a16="http://schemas.microsoft.com/office/drawing/2014/main" id="{E5320452-FE74-49D0-EAB9-C43B70D013F8}"/>
              </a:ext>
            </a:extLst>
          </p:cNvPr>
          <p:cNvSpPr/>
          <p:nvPr/>
        </p:nvSpPr>
        <p:spPr>
          <a:xfrm>
            <a:off x="5020207" y="3179888"/>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3</a:t>
            </a:r>
          </a:p>
        </p:txBody>
      </p:sp>
      <p:sp>
        <p:nvSpPr>
          <p:cNvPr id="19464" name="Oval 19463">
            <a:extLst>
              <a:ext uri="{FF2B5EF4-FFF2-40B4-BE49-F238E27FC236}">
                <a16:creationId xmlns:a16="http://schemas.microsoft.com/office/drawing/2014/main" id="{05492663-94D4-263E-F86C-F1269C04A774}"/>
              </a:ext>
            </a:extLst>
          </p:cNvPr>
          <p:cNvSpPr/>
          <p:nvPr/>
        </p:nvSpPr>
        <p:spPr>
          <a:xfrm>
            <a:off x="11066247" y="3974089"/>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4</a:t>
            </a:r>
          </a:p>
        </p:txBody>
      </p:sp>
      <p:sp>
        <p:nvSpPr>
          <p:cNvPr id="19465" name="Oval 19464">
            <a:extLst>
              <a:ext uri="{FF2B5EF4-FFF2-40B4-BE49-F238E27FC236}">
                <a16:creationId xmlns:a16="http://schemas.microsoft.com/office/drawing/2014/main" id="{BEAC2F5B-1963-0E6B-846F-5EC2F21F4F8D}"/>
              </a:ext>
            </a:extLst>
          </p:cNvPr>
          <p:cNvSpPr/>
          <p:nvPr/>
        </p:nvSpPr>
        <p:spPr>
          <a:xfrm>
            <a:off x="5506414" y="4378580"/>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4</a:t>
            </a:r>
          </a:p>
        </p:txBody>
      </p:sp>
      <p:sp>
        <p:nvSpPr>
          <p:cNvPr id="19466" name="Oval 19465">
            <a:extLst>
              <a:ext uri="{FF2B5EF4-FFF2-40B4-BE49-F238E27FC236}">
                <a16:creationId xmlns:a16="http://schemas.microsoft.com/office/drawing/2014/main" id="{88376A05-8264-ED9B-A1E2-B1AB18630022}"/>
              </a:ext>
            </a:extLst>
          </p:cNvPr>
          <p:cNvSpPr/>
          <p:nvPr/>
        </p:nvSpPr>
        <p:spPr>
          <a:xfrm>
            <a:off x="4159581" y="3421592"/>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4</a:t>
            </a:r>
          </a:p>
        </p:txBody>
      </p:sp>
      <p:sp>
        <p:nvSpPr>
          <p:cNvPr id="19467" name="Rectangle: Rounded Corners 24">
            <a:extLst>
              <a:ext uri="{FF2B5EF4-FFF2-40B4-BE49-F238E27FC236}">
                <a16:creationId xmlns:a16="http://schemas.microsoft.com/office/drawing/2014/main" id="{A2BD5FE1-318A-C6CB-F63C-FAF136E98610}"/>
              </a:ext>
            </a:extLst>
          </p:cNvPr>
          <p:cNvSpPr/>
          <p:nvPr/>
        </p:nvSpPr>
        <p:spPr>
          <a:xfrm>
            <a:off x="7833359" y="2195996"/>
            <a:ext cx="838893" cy="432390"/>
          </a:xfrm>
          <a:prstGeom prst="roundRect">
            <a:avLst/>
          </a:prstGeom>
          <a:solidFill>
            <a:schemeClr val="accent2">
              <a:lumMod val="20000"/>
              <a:lumOff val="80000"/>
              <a:alpha val="2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900" b="1" i="0" u="none" strike="noStrike" kern="0" cap="none" spc="0" normalizeH="0" baseline="0" noProof="0" dirty="0">
                <a:ln>
                  <a:noFill/>
                </a:ln>
                <a:solidFill>
                  <a:schemeClr val="accent2"/>
                </a:solidFill>
                <a:effectLst/>
                <a:uLnTx/>
                <a:uFillTx/>
                <a:latin typeface="Arial"/>
                <a:ea typeface="+mn-ea"/>
                <a:cs typeface="+mn-cs"/>
                <a:sym typeface="Arial"/>
              </a:rPr>
              <a:t>AI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900" b="1" kern="0" dirty="0">
                <a:solidFill>
                  <a:schemeClr val="accent2"/>
                </a:solidFill>
                <a:latin typeface="Arial"/>
                <a:sym typeface="Arial"/>
              </a:rPr>
              <a:t>USE CASE</a:t>
            </a:r>
            <a:endParaRPr kumimoji="0" lang="fr-BE" sz="900" b="1" i="0" u="none" strike="noStrike" kern="0" cap="none" spc="0" normalizeH="0" baseline="0" noProof="0" dirty="0">
              <a:ln>
                <a:noFill/>
              </a:ln>
              <a:solidFill>
                <a:schemeClr val="accent2"/>
              </a:solidFill>
              <a:effectLst/>
              <a:uLnTx/>
              <a:uFillTx/>
              <a:latin typeface="Arial"/>
              <a:ea typeface="+mn-ea"/>
              <a:cs typeface="+mn-cs"/>
              <a:sym typeface="Arial"/>
            </a:endParaRPr>
          </a:p>
        </p:txBody>
      </p:sp>
      <p:sp>
        <p:nvSpPr>
          <p:cNvPr id="19469" name="Oval 19468">
            <a:extLst>
              <a:ext uri="{FF2B5EF4-FFF2-40B4-BE49-F238E27FC236}">
                <a16:creationId xmlns:a16="http://schemas.microsoft.com/office/drawing/2014/main" id="{42124DAB-F1BC-BAFE-9152-BDA945C8CCFC}"/>
              </a:ext>
            </a:extLst>
          </p:cNvPr>
          <p:cNvSpPr/>
          <p:nvPr/>
        </p:nvSpPr>
        <p:spPr>
          <a:xfrm>
            <a:off x="4189819" y="4390131"/>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5</a:t>
            </a:r>
          </a:p>
        </p:txBody>
      </p:sp>
      <p:sp>
        <p:nvSpPr>
          <p:cNvPr id="19470" name="Oval 19469">
            <a:extLst>
              <a:ext uri="{FF2B5EF4-FFF2-40B4-BE49-F238E27FC236}">
                <a16:creationId xmlns:a16="http://schemas.microsoft.com/office/drawing/2014/main" id="{3A601402-BF2B-AAD5-FFFF-D4E0F0746D2D}"/>
              </a:ext>
            </a:extLst>
          </p:cNvPr>
          <p:cNvSpPr/>
          <p:nvPr/>
        </p:nvSpPr>
        <p:spPr>
          <a:xfrm>
            <a:off x="9887645" y="4773973"/>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5</a:t>
            </a:r>
          </a:p>
        </p:txBody>
      </p:sp>
      <p:sp>
        <p:nvSpPr>
          <p:cNvPr id="19471" name="Oval 19470">
            <a:extLst>
              <a:ext uri="{FF2B5EF4-FFF2-40B4-BE49-F238E27FC236}">
                <a16:creationId xmlns:a16="http://schemas.microsoft.com/office/drawing/2014/main" id="{331D8089-8795-C946-2BD2-DEFAA83D3282}"/>
              </a:ext>
            </a:extLst>
          </p:cNvPr>
          <p:cNvSpPr/>
          <p:nvPr/>
        </p:nvSpPr>
        <p:spPr>
          <a:xfrm>
            <a:off x="8826993" y="4001437"/>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6</a:t>
            </a:r>
          </a:p>
        </p:txBody>
      </p:sp>
      <p:sp>
        <p:nvSpPr>
          <p:cNvPr id="19472" name="Oval 19471">
            <a:extLst>
              <a:ext uri="{FF2B5EF4-FFF2-40B4-BE49-F238E27FC236}">
                <a16:creationId xmlns:a16="http://schemas.microsoft.com/office/drawing/2014/main" id="{1019E576-036D-6621-ABA6-BD488D15DD4E}"/>
              </a:ext>
            </a:extLst>
          </p:cNvPr>
          <p:cNvSpPr/>
          <p:nvPr/>
        </p:nvSpPr>
        <p:spPr>
          <a:xfrm>
            <a:off x="2007129" y="4308035"/>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6</a:t>
            </a:r>
          </a:p>
        </p:txBody>
      </p:sp>
      <p:sp>
        <p:nvSpPr>
          <p:cNvPr id="19473" name="Oval 19472">
            <a:extLst>
              <a:ext uri="{FF2B5EF4-FFF2-40B4-BE49-F238E27FC236}">
                <a16:creationId xmlns:a16="http://schemas.microsoft.com/office/drawing/2014/main" id="{D4D38A7A-B5EF-9FEB-2C93-CBC82AD87326}"/>
              </a:ext>
            </a:extLst>
          </p:cNvPr>
          <p:cNvSpPr/>
          <p:nvPr/>
        </p:nvSpPr>
        <p:spPr>
          <a:xfrm>
            <a:off x="4510520" y="2141661"/>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2</a:t>
            </a:r>
          </a:p>
        </p:txBody>
      </p:sp>
      <p:sp>
        <p:nvSpPr>
          <p:cNvPr id="19474" name="Oval 19473">
            <a:extLst>
              <a:ext uri="{FF2B5EF4-FFF2-40B4-BE49-F238E27FC236}">
                <a16:creationId xmlns:a16="http://schemas.microsoft.com/office/drawing/2014/main" id="{1AEA6DDB-475B-977C-DEBF-D218AF3EFB25}"/>
              </a:ext>
            </a:extLst>
          </p:cNvPr>
          <p:cNvSpPr/>
          <p:nvPr/>
        </p:nvSpPr>
        <p:spPr>
          <a:xfrm>
            <a:off x="4887791" y="2148465"/>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3</a:t>
            </a:r>
          </a:p>
        </p:txBody>
      </p:sp>
      <p:sp>
        <p:nvSpPr>
          <p:cNvPr id="19475" name="Oval 19474">
            <a:extLst>
              <a:ext uri="{FF2B5EF4-FFF2-40B4-BE49-F238E27FC236}">
                <a16:creationId xmlns:a16="http://schemas.microsoft.com/office/drawing/2014/main" id="{3722CBD6-D0FB-6BF1-A6C8-A6AC03772AB6}"/>
              </a:ext>
            </a:extLst>
          </p:cNvPr>
          <p:cNvSpPr/>
          <p:nvPr/>
        </p:nvSpPr>
        <p:spPr>
          <a:xfrm>
            <a:off x="5265063" y="2154019"/>
            <a:ext cx="395393" cy="395393"/>
          </a:xfrm>
          <a:prstGeom prst="ellipse">
            <a:avLst/>
          </a:prstGeom>
          <a:solidFill>
            <a:srgbClr val="7030A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E" dirty="0"/>
              <a:t>4</a:t>
            </a:r>
          </a:p>
        </p:txBody>
      </p:sp>
    </p:spTree>
    <p:extLst>
      <p:ext uri="{BB962C8B-B14F-4D97-AF65-F5344CB8AC3E}">
        <p14:creationId xmlns:p14="http://schemas.microsoft.com/office/powerpoint/2010/main" val="19351575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7DE54-0439-5699-D68F-6C92CF2F07BB}"/>
              </a:ext>
            </a:extLst>
          </p:cNvPr>
          <p:cNvSpPr>
            <a:spLocks noGrp="1"/>
          </p:cNvSpPr>
          <p:nvPr>
            <p:ph type="title"/>
          </p:nvPr>
        </p:nvSpPr>
        <p:spPr>
          <a:xfrm>
            <a:off x="452581" y="411307"/>
            <a:ext cx="11321441" cy="535531"/>
          </a:xfrm>
        </p:spPr>
        <p:txBody>
          <a:bodyPr/>
          <a:lstStyle/>
          <a:p>
            <a:r>
              <a:rPr lang="en-IE" dirty="0"/>
              <a:t>Towards a mature AI Governance Framework</a:t>
            </a:r>
          </a:p>
        </p:txBody>
      </p:sp>
      <p:sp>
        <p:nvSpPr>
          <p:cNvPr id="3" name="Content Placeholder 2">
            <a:extLst>
              <a:ext uri="{FF2B5EF4-FFF2-40B4-BE49-F238E27FC236}">
                <a16:creationId xmlns:a16="http://schemas.microsoft.com/office/drawing/2014/main" id="{53B4B3A9-2A60-46C0-FC19-3239181BC087}"/>
              </a:ext>
            </a:extLst>
          </p:cNvPr>
          <p:cNvSpPr>
            <a:spLocks noGrp="1"/>
          </p:cNvSpPr>
          <p:nvPr>
            <p:ph idx="1"/>
          </p:nvPr>
        </p:nvSpPr>
        <p:spPr>
          <a:xfrm>
            <a:off x="645392" y="1096060"/>
            <a:ext cx="5867397" cy="5200398"/>
          </a:xfrm>
        </p:spPr>
        <p:txBody>
          <a:bodyPr/>
          <a:lstStyle/>
          <a:p>
            <a:pPr marL="0" indent="0">
              <a:buNone/>
            </a:pPr>
            <a:r>
              <a:rPr lang="en-IE" dirty="0"/>
              <a:t>Assure your AI is FAT Compliant:</a:t>
            </a:r>
          </a:p>
          <a:p>
            <a:pPr marL="0" indent="0">
              <a:buNone/>
            </a:pPr>
            <a:r>
              <a:rPr lang="en-IE" dirty="0"/>
              <a:t>Fair:</a:t>
            </a:r>
          </a:p>
          <a:p>
            <a:pPr marL="457200" lvl="1" indent="0">
              <a:buNone/>
            </a:pPr>
            <a:r>
              <a:rPr lang="en-IE" dirty="0">
                <a:latin typeface="BearingPoint Sans L + C" pitchFamily="2" charset="77"/>
                <a:ea typeface="+mn-ea"/>
                <a:cs typeface="+mn-cs"/>
              </a:rPr>
              <a:t>Do you respect privacy, IP and copyright law </a:t>
            </a:r>
          </a:p>
          <a:p>
            <a:pPr marL="457200" lvl="1" indent="0">
              <a:buNone/>
            </a:pPr>
            <a:r>
              <a:rPr lang="en-IE" dirty="0">
                <a:latin typeface="BearingPoint Sans L + C" pitchFamily="2" charset="77"/>
                <a:ea typeface="+mn-ea"/>
                <a:cs typeface="+mn-cs"/>
              </a:rPr>
              <a:t>and is there no Bias and Discrimination in the model?</a:t>
            </a:r>
          </a:p>
          <a:p>
            <a:pPr marL="0" indent="0">
              <a:buNone/>
            </a:pPr>
            <a:r>
              <a:rPr lang="en-IE" dirty="0"/>
              <a:t>Accountability: </a:t>
            </a:r>
          </a:p>
          <a:p>
            <a:pPr marL="457200" lvl="1" indent="0">
              <a:buNone/>
            </a:pPr>
            <a:r>
              <a:rPr lang="en-IE" dirty="0"/>
              <a:t>Implement appropriate and effective measures to ensure that principles are complied with</a:t>
            </a:r>
          </a:p>
          <a:p>
            <a:pPr marL="457200" lvl="1" indent="0">
              <a:buNone/>
            </a:pPr>
            <a:r>
              <a:rPr lang="en-IE" dirty="0"/>
              <a:t>Demonstrate compliance of the measures upon request</a:t>
            </a:r>
          </a:p>
          <a:p>
            <a:pPr marL="457200" lvl="1" indent="0">
              <a:buNone/>
            </a:pPr>
            <a:r>
              <a:rPr lang="en-IE" dirty="0"/>
              <a:t>Recognize potential negative consequences.</a:t>
            </a:r>
          </a:p>
          <a:p>
            <a:pPr marL="0" indent="0">
              <a:buNone/>
            </a:pPr>
            <a:r>
              <a:rPr lang="en-IE" dirty="0"/>
              <a:t>Transparency:</a:t>
            </a:r>
          </a:p>
          <a:p>
            <a:pPr marL="457200" lvl="1" indent="0">
              <a:buNone/>
            </a:pPr>
            <a:r>
              <a:rPr lang="en-IE" dirty="0"/>
              <a:t>Extends beyond explaining decisions and encompasses all stages of a data science project.</a:t>
            </a:r>
          </a:p>
          <a:p>
            <a:pPr marL="457200" lvl="1" indent="0">
              <a:buNone/>
            </a:pPr>
            <a:r>
              <a:rPr lang="en-IE" dirty="0"/>
              <a:t>Apply techniques such as CHAP or LIME.</a:t>
            </a:r>
          </a:p>
          <a:p>
            <a:pPr marL="457200" lvl="1" indent="0">
              <a:buNone/>
            </a:pPr>
            <a:r>
              <a:rPr lang="en-IE" dirty="0"/>
              <a:t>Not necessitate revealing every detail to end-users to protect company secrets and privacy. </a:t>
            </a:r>
            <a:r>
              <a:rPr lang="en-GB" dirty="0"/>
              <a:t>Feature importance analysis can support this.</a:t>
            </a:r>
          </a:p>
        </p:txBody>
      </p:sp>
      <p:sp>
        <p:nvSpPr>
          <p:cNvPr id="6" name="TextBox 5">
            <a:extLst>
              <a:ext uri="{FF2B5EF4-FFF2-40B4-BE49-F238E27FC236}">
                <a16:creationId xmlns:a16="http://schemas.microsoft.com/office/drawing/2014/main" id="{7572D29F-E504-6A66-281B-949FF2DF5C8D}"/>
              </a:ext>
            </a:extLst>
          </p:cNvPr>
          <p:cNvSpPr txBox="1"/>
          <p:nvPr/>
        </p:nvSpPr>
        <p:spPr>
          <a:xfrm>
            <a:off x="6705600" y="3087852"/>
            <a:ext cx="5257799" cy="246221"/>
          </a:xfrm>
          <a:prstGeom prst="rect">
            <a:avLst/>
          </a:prstGeom>
          <a:noFill/>
        </p:spPr>
        <p:txBody>
          <a:bodyPr wrap="square" rtlCol="0">
            <a:spAutoFit/>
          </a:bodyPr>
          <a:lstStyle/>
          <a:p>
            <a:r>
              <a:rPr lang="en-GB" sz="1000" b="1">
                <a:solidFill>
                  <a:schemeClr val="bg1"/>
                </a:solidFill>
                <a:effectLst/>
                <a:latin typeface="Lato" panose="020F0502020204030203" pitchFamily="34" charset="0"/>
                <a:ea typeface="Lato" panose="020F0502020204030203" pitchFamily="34" charset="0"/>
                <a:cs typeface="Lato" panose="020F0502020204030203" pitchFamily="34" charset="0"/>
              </a:rPr>
              <a:t>FAT Flow: a Data Science Ethics Framework David Martens (UNIVERSITY OF ANTWERP)</a:t>
            </a:r>
            <a:endParaRPr lang="en-IE" sz="1000">
              <a:solidFill>
                <a:schemeClr val="bg1"/>
              </a:solidFill>
              <a:latin typeface="Lato" panose="020F0502020204030203" pitchFamily="34" charset="0"/>
              <a:ea typeface="Lato" panose="020F0502020204030203" pitchFamily="34" charset="0"/>
              <a:cs typeface="Lato" panose="020F0502020204030203" pitchFamily="34" charset="0"/>
            </a:endParaRPr>
          </a:p>
        </p:txBody>
      </p:sp>
      <p:pic>
        <p:nvPicPr>
          <p:cNvPr id="9" name="Picture 8">
            <a:extLst>
              <a:ext uri="{FF2B5EF4-FFF2-40B4-BE49-F238E27FC236}">
                <a16:creationId xmlns:a16="http://schemas.microsoft.com/office/drawing/2014/main" id="{B271BECC-E38A-5BE4-DB38-49FD6A307267}"/>
              </a:ext>
            </a:extLst>
          </p:cNvPr>
          <p:cNvPicPr>
            <a:picLocks noChangeAspect="1"/>
          </p:cNvPicPr>
          <p:nvPr/>
        </p:nvPicPr>
        <p:blipFill>
          <a:blip r:embed="rId3"/>
          <a:stretch>
            <a:fillRect/>
          </a:stretch>
        </p:blipFill>
        <p:spPr>
          <a:xfrm>
            <a:off x="6705599" y="946838"/>
            <a:ext cx="5257799" cy="2141014"/>
          </a:xfrm>
          <a:prstGeom prst="rect">
            <a:avLst/>
          </a:prstGeom>
        </p:spPr>
      </p:pic>
      <p:pic>
        <p:nvPicPr>
          <p:cNvPr id="4" name="Picture 2" descr="Introducing AI Fairness 360, A Step Towards Trusted AI - IBM Research">
            <a:extLst>
              <a:ext uri="{FF2B5EF4-FFF2-40B4-BE49-F238E27FC236}">
                <a16:creationId xmlns:a16="http://schemas.microsoft.com/office/drawing/2014/main" id="{6FDFA66D-7E7C-FFAB-DD03-7AD917FD011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05599" y="3429000"/>
            <a:ext cx="5079151" cy="192452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675F8FD2-56BF-F6D1-AF10-133A07CBFD0A}"/>
              </a:ext>
            </a:extLst>
          </p:cNvPr>
          <p:cNvSpPr txBox="1"/>
          <p:nvPr/>
        </p:nvSpPr>
        <p:spPr>
          <a:xfrm>
            <a:off x="6705599" y="5353522"/>
            <a:ext cx="5079151" cy="276999"/>
          </a:xfrm>
          <a:prstGeom prst="rect">
            <a:avLst/>
          </a:prstGeom>
          <a:noFill/>
        </p:spPr>
        <p:txBody>
          <a:bodyPr wrap="square">
            <a:spAutoFit/>
          </a:bodyPr>
          <a:lstStyle/>
          <a:p>
            <a:pPr algn="l" fontAlgn="base"/>
            <a:r>
              <a:rPr lang="en-GB" sz="1200" b="0" i="0" u="none" strike="noStrike">
                <a:solidFill>
                  <a:schemeClr val="bg1"/>
                </a:solidFill>
                <a:effectLst/>
                <a:latin typeface="inherit"/>
              </a:rPr>
              <a:t>IBM: AI Fairness 360</a:t>
            </a:r>
            <a:endParaRPr lang="en-GB" sz="1200" b="0" i="0" u="none" strike="noStrike">
              <a:solidFill>
                <a:schemeClr val="bg1"/>
              </a:solidFill>
              <a:effectLst/>
              <a:latin typeface="IBM Plex Sans" panose="020F0502020204030204" pitchFamily="34" charset="0"/>
            </a:endParaRPr>
          </a:p>
        </p:txBody>
      </p:sp>
    </p:spTree>
    <p:extLst>
      <p:ext uri="{BB962C8B-B14F-4D97-AF65-F5344CB8AC3E}">
        <p14:creationId xmlns:p14="http://schemas.microsoft.com/office/powerpoint/2010/main" val="2874388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C7DE54-0439-5699-D68F-6C92CF2F07BB}"/>
              </a:ext>
            </a:extLst>
          </p:cNvPr>
          <p:cNvSpPr>
            <a:spLocks noGrp="1"/>
          </p:cNvSpPr>
          <p:nvPr>
            <p:ph type="title"/>
          </p:nvPr>
        </p:nvSpPr>
        <p:spPr>
          <a:xfrm>
            <a:off x="452581" y="411307"/>
            <a:ext cx="11321441" cy="535531"/>
          </a:xfrm>
        </p:spPr>
        <p:txBody>
          <a:bodyPr/>
          <a:lstStyle/>
          <a:p>
            <a:r>
              <a:rPr lang="en-IE" dirty="0"/>
              <a:t>Towards a mature AI Governance Framework</a:t>
            </a:r>
          </a:p>
        </p:txBody>
      </p:sp>
      <p:sp>
        <p:nvSpPr>
          <p:cNvPr id="3" name="Content Placeholder 2">
            <a:extLst>
              <a:ext uri="{FF2B5EF4-FFF2-40B4-BE49-F238E27FC236}">
                <a16:creationId xmlns:a16="http://schemas.microsoft.com/office/drawing/2014/main" id="{53B4B3A9-2A60-46C0-FC19-3239181BC087}"/>
              </a:ext>
            </a:extLst>
          </p:cNvPr>
          <p:cNvSpPr>
            <a:spLocks noGrp="1"/>
          </p:cNvSpPr>
          <p:nvPr>
            <p:ph idx="1"/>
          </p:nvPr>
        </p:nvSpPr>
        <p:spPr>
          <a:xfrm>
            <a:off x="838200" y="1547813"/>
            <a:ext cx="7471160" cy="4442242"/>
          </a:xfrm>
        </p:spPr>
        <p:txBody>
          <a:bodyPr/>
          <a:lstStyle/>
          <a:p>
            <a:pPr marL="0" indent="0">
              <a:buNone/>
            </a:pPr>
            <a:r>
              <a:rPr lang="en-IE" dirty="0"/>
              <a:t>Assure your AI is FAT Compliant:</a:t>
            </a:r>
          </a:p>
          <a:p>
            <a:pPr marL="0" indent="0">
              <a:buNone/>
            </a:pPr>
            <a:r>
              <a:rPr lang="fr-FR" dirty="0" err="1"/>
              <a:t>It’s</a:t>
            </a:r>
            <a:r>
              <a:rPr lang="fr-FR" dirty="0"/>
              <a:t> </a:t>
            </a:r>
            <a:r>
              <a:rPr lang="fr-FR" dirty="0" err="1"/>
              <a:t>highly</a:t>
            </a:r>
            <a:r>
              <a:rPr lang="fr-FR" dirty="0"/>
              <a:t> </a:t>
            </a:r>
            <a:r>
              <a:rPr lang="fr-FR" dirty="0" err="1"/>
              <a:t>likely</a:t>
            </a:r>
            <a:r>
              <a:rPr lang="fr-FR" dirty="0"/>
              <a:t> </a:t>
            </a:r>
            <a:r>
              <a:rPr lang="fr-FR" dirty="0" err="1"/>
              <a:t>that</a:t>
            </a:r>
            <a:r>
              <a:rPr lang="fr-FR" dirty="0"/>
              <a:t> </a:t>
            </a:r>
            <a:r>
              <a:rPr lang="fr-FR" dirty="0" err="1"/>
              <a:t>your</a:t>
            </a:r>
            <a:r>
              <a:rPr lang="fr-FR" dirty="0"/>
              <a:t> </a:t>
            </a:r>
            <a:r>
              <a:rPr lang="fr-FR" dirty="0" err="1"/>
              <a:t>don’t</a:t>
            </a:r>
            <a:r>
              <a:rPr lang="fr-FR" dirty="0"/>
              <a:t> have the </a:t>
            </a:r>
            <a:r>
              <a:rPr lang="fr-FR" dirty="0" err="1"/>
              <a:t>adequate</a:t>
            </a:r>
            <a:r>
              <a:rPr lang="fr-FR" dirty="0"/>
              <a:t> infrastructure to assure </a:t>
            </a:r>
            <a:r>
              <a:rPr lang="fr-FR" dirty="0" err="1"/>
              <a:t>your</a:t>
            </a:r>
            <a:r>
              <a:rPr lang="fr-FR" dirty="0"/>
              <a:t> model </a:t>
            </a:r>
            <a:r>
              <a:rPr lang="fr-FR" dirty="0" err="1"/>
              <a:t>deployment</a:t>
            </a:r>
            <a:r>
              <a:rPr lang="fr-FR" dirty="0"/>
              <a:t> </a:t>
            </a:r>
            <a:r>
              <a:rPr lang="fr-FR" dirty="0" err="1"/>
              <a:t>is</a:t>
            </a:r>
            <a:r>
              <a:rPr lang="fr-FR" dirty="0"/>
              <a:t> </a:t>
            </a:r>
            <a:r>
              <a:rPr lang="fr-FR" dirty="0" err="1"/>
              <a:t>error</a:t>
            </a:r>
            <a:r>
              <a:rPr lang="fr-FR" dirty="0"/>
              <a:t> proof</a:t>
            </a:r>
          </a:p>
          <a:p>
            <a:endParaRPr lang="fr-FR" dirty="0"/>
          </a:p>
          <a:p>
            <a:pPr marL="0" indent="0">
              <a:buNone/>
            </a:pPr>
            <a:r>
              <a:rPr lang="fr-FR" dirty="0" err="1"/>
              <a:t>Reduce</a:t>
            </a:r>
            <a:r>
              <a:rPr lang="fr-FR" dirty="0"/>
              <a:t> the </a:t>
            </a:r>
            <a:r>
              <a:rPr lang="fr-FR" dirty="0" err="1"/>
              <a:t>risks</a:t>
            </a:r>
            <a:r>
              <a:rPr lang="fr-FR" dirty="0"/>
              <a:t> by:</a:t>
            </a:r>
          </a:p>
          <a:p>
            <a:r>
              <a:rPr lang="fr-FR" dirty="0"/>
              <a:t>Putting a « </a:t>
            </a:r>
            <a:r>
              <a:rPr lang="fr-FR" dirty="0" err="1"/>
              <a:t>red</a:t>
            </a:r>
            <a:r>
              <a:rPr lang="fr-FR" dirty="0"/>
              <a:t> team » in place</a:t>
            </a:r>
          </a:p>
          <a:p>
            <a:r>
              <a:rPr lang="fr-FR" dirty="0" err="1"/>
              <a:t>Adapt</a:t>
            </a:r>
            <a:r>
              <a:rPr lang="fr-FR" dirty="0"/>
              <a:t> the model size to match the </a:t>
            </a:r>
            <a:r>
              <a:rPr lang="fr-FR" dirty="0" err="1"/>
              <a:t>purpose</a:t>
            </a:r>
            <a:r>
              <a:rPr lang="fr-FR" dirty="0"/>
              <a:t> (LORA, QLORA, RAG)</a:t>
            </a:r>
          </a:p>
          <a:p>
            <a:r>
              <a:rPr lang="fr-FR" dirty="0" err="1"/>
              <a:t>Assuring</a:t>
            </a:r>
            <a:r>
              <a:rPr lang="fr-FR" dirty="0"/>
              <a:t> </a:t>
            </a:r>
            <a:r>
              <a:rPr lang="fr-FR" dirty="0" err="1"/>
              <a:t>there</a:t>
            </a:r>
            <a:r>
              <a:rPr lang="fr-FR" dirty="0"/>
              <a:t> </a:t>
            </a:r>
            <a:r>
              <a:rPr lang="fr-FR" dirty="0" err="1"/>
              <a:t>is</a:t>
            </a:r>
            <a:r>
              <a:rPr lang="fr-FR" dirty="0"/>
              <a:t> </a:t>
            </a:r>
            <a:r>
              <a:rPr lang="fr-FR" dirty="0" err="1"/>
              <a:t>sufficient</a:t>
            </a:r>
            <a:r>
              <a:rPr lang="fr-FR" dirty="0"/>
              <a:t> AI </a:t>
            </a:r>
            <a:r>
              <a:rPr lang="fr-FR" dirty="0" err="1"/>
              <a:t>literacy</a:t>
            </a:r>
            <a:r>
              <a:rPr lang="fr-FR" dirty="0"/>
              <a:t> in the organisation</a:t>
            </a:r>
          </a:p>
          <a:p>
            <a:endParaRPr lang="fr-FR" dirty="0"/>
          </a:p>
          <a:p>
            <a:endParaRPr lang="en-GB" dirty="0"/>
          </a:p>
        </p:txBody>
      </p:sp>
      <p:pic>
        <p:nvPicPr>
          <p:cNvPr id="8" name="Picture 7">
            <a:extLst>
              <a:ext uri="{FF2B5EF4-FFF2-40B4-BE49-F238E27FC236}">
                <a16:creationId xmlns:a16="http://schemas.microsoft.com/office/drawing/2014/main" id="{06E7533B-2D7A-674A-E96E-4139B5BB25D5}"/>
              </a:ext>
            </a:extLst>
          </p:cNvPr>
          <p:cNvPicPr>
            <a:picLocks noChangeAspect="1"/>
          </p:cNvPicPr>
          <p:nvPr/>
        </p:nvPicPr>
        <p:blipFill>
          <a:blip r:embed="rId3"/>
          <a:stretch>
            <a:fillRect/>
          </a:stretch>
        </p:blipFill>
        <p:spPr>
          <a:xfrm>
            <a:off x="8309360" y="1606213"/>
            <a:ext cx="3645574" cy="3645574"/>
          </a:xfrm>
          <a:prstGeom prst="rect">
            <a:avLst/>
          </a:prstGeom>
        </p:spPr>
      </p:pic>
      <p:sp>
        <p:nvSpPr>
          <p:cNvPr id="4" name="TextBox 3">
            <a:extLst>
              <a:ext uri="{FF2B5EF4-FFF2-40B4-BE49-F238E27FC236}">
                <a16:creationId xmlns:a16="http://schemas.microsoft.com/office/drawing/2014/main" id="{349B3060-1EB5-C327-0F04-DC929300AA87}"/>
              </a:ext>
            </a:extLst>
          </p:cNvPr>
          <p:cNvSpPr txBox="1"/>
          <p:nvPr/>
        </p:nvSpPr>
        <p:spPr>
          <a:xfrm>
            <a:off x="8666686" y="5937861"/>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spTree>
    <p:extLst>
      <p:ext uri="{BB962C8B-B14F-4D97-AF65-F5344CB8AC3E}">
        <p14:creationId xmlns:p14="http://schemas.microsoft.com/office/powerpoint/2010/main" val="9448858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6FD0513B-E391-1DE9-9FE7-475988277AF3}"/>
              </a:ext>
            </a:extLst>
          </p:cNvPr>
          <p:cNvSpPr>
            <a:spLocks noGrp="1"/>
          </p:cNvSpPr>
          <p:nvPr>
            <p:ph idx="1"/>
          </p:nvPr>
        </p:nvSpPr>
        <p:spPr>
          <a:xfrm>
            <a:off x="838200" y="2574758"/>
            <a:ext cx="10915650" cy="3462486"/>
          </a:xfrm>
        </p:spPr>
        <p:txBody>
          <a:bodyPr/>
          <a:lstStyle/>
          <a:p>
            <a:pPr marL="0" indent="0">
              <a:buNone/>
            </a:pPr>
            <a:r>
              <a:rPr lang="en-IE" sz="1600" dirty="0"/>
              <a:t>To effectively deploy a GPT (Generative Pre-trained Transformer)</a:t>
            </a:r>
          </a:p>
          <a:p>
            <a:r>
              <a:rPr lang="en-IE" sz="1600" dirty="0"/>
              <a:t>1. Understanding of Natural Language Processing (NLP)</a:t>
            </a:r>
          </a:p>
          <a:p>
            <a:r>
              <a:rPr lang="en-IE" sz="1600" dirty="0"/>
              <a:t>2. Python Programming</a:t>
            </a:r>
          </a:p>
          <a:p>
            <a:r>
              <a:rPr lang="en-IE" sz="1600" dirty="0"/>
              <a:t>3. Knowledge of Deep Learning</a:t>
            </a:r>
          </a:p>
          <a:p>
            <a:r>
              <a:rPr lang="en-IE" sz="1600" dirty="0"/>
              <a:t>4. Data Pre-processing</a:t>
            </a:r>
          </a:p>
          <a:p>
            <a:r>
              <a:rPr lang="en-IE" sz="1600" dirty="0"/>
              <a:t>5. Model Selection and Fine-tuning</a:t>
            </a:r>
          </a:p>
          <a:p>
            <a:r>
              <a:rPr lang="en-IE" sz="1600" dirty="0"/>
              <a:t>6. Evaluation Metrics</a:t>
            </a:r>
          </a:p>
          <a:p>
            <a:r>
              <a:rPr lang="en-IE" sz="1600" dirty="0"/>
              <a:t>7. GPU and Cloud Computing</a:t>
            </a:r>
          </a:p>
          <a:p>
            <a:r>
              <a:rPr lang="en-IE" sz="1600" dirty="0"/>
              <a:t>8. Ethical Considerations</a:t>
            </a:r>
          </a:p>
          <a:p>
            <a:r>
              <a:rPr lang="en-IE" sz="1600" dirty="0"/>
              <a:t>9. Domain Expertise</a:t>
            </a:r>
          </a:p>
        </p:txBody>
      </p:sp>
      <p:sp>
        <p:nvSpPr>
          <p:cNvPr id="11" name="Title 10">
            <a:extLst>
              <a:ext uri="{FF2B5EF4-FFF2-40B4-BE49-F238E27FC236}">
                <a16:creationId xmlns:a16="http://schemas.microsoft.com/office/drawing/2014/main" id="{2700A7F2-370F-9551-139F-34E02722D373}"/>
              </a:ext>
            </a:extLst>
          </p:cNvPr>
          <p:cNvSpPr>
            <a:spLocks noGrp="1"/>
          </p:cNvSpPr>
          <p:nvPr>
            <p:ph type="title"/>
          </p:nvPr>
        </p:nvSpPr>
        <p:spPr>
          <a:xfrm>
            <a:off x="838200" y="365125"/>
            <a:ext cx="10515600" cy="424732"/>
          </a:xfrm>
        </p:spPr>
        <p:txBody>
          <a:bodyPr/>
          <a:lstStyle/>
          <a:p>
            <a:r>
              <a:rPr lang="en-IE" dirty="0"/>
              <a:t>Towards a mature AI Governance Framework</a:t>
            </a:r>
            <a:br>
              <a:rPr lang="en-IE" dirty="0"/>
            </a:br>
            <a:r>
              <a:rPr lang="en-IE" dirty="0"/>
              <a:t>Assure AI Literacy</a:t>
            </a:r>
          </a:p>
        </p:txBody>
      </p:sp>
      <p:pic>
        <p:nvPicPr>
          <p:cNvPr id="7" name="Picture 6" descr="A robot holding a book&#10;&#10;Description automatically generated">
            <a:extLst>
              <a:ext uri="{FF2B5EF4-FFF2-40B4-BE49-F238E27FC236}">
                <a16:creationId xmlns:a16="http://schemas.microsoft.com/office/drawing/2014/main" id="{7B166786-E1BA-A885-3001-CDDAFAD60023}"/>
              </a:ext>
            </a:extLst>
          </p:cNvPr>
          <p:cNvPicPr>
            <a:picLocks noChangeAspect="1"/>
          </p:cNvPicPr>
          <p:nvPr/>
        </p:nvPicPr>
        <p:blipFill>
          <a:blip r:embed="rId3">
            <a:alphaModFix amt="70000"/>
          </a:blip>
          <a:stretch>
            <a:fillRect/>
          </a:stretch>
        </p:blipFill>
        <p:spPr>
          <a:xfrm>
            <a:off x="9555413" y="3507830"/>
            <a:ext cx="2636587" cy="2738200"/>
          </a:xfrm>
          <a:prstGeom prst="rect">
            <a:avLst/>
          </a:prstGeom>
        </p:spPr>
      </p:pic>
      <p:sp>
        <p:nvSpPr>
          <p:cNvPr id="14" name="TextBox 13">
            <a:extLst>
              <a:ext uri="{FF2B5EF4-FFF2-40B4-BE49-F238E27FC236}">
                <a16:creationId xmlns:a16="http://schemas.microsoft.com/office/drawing/2014/main" id="{D42A4612-D2F4-ECBC-B27C-D2414DECB684}"/>
              </a:ext>
            </a:extLst>
          </p:cNvPr>
          <p:cNvSpPr txBox="1"/>
          <p:nvPr/>
        </p:nvSpPr>
        <p:spPr>
          <a:xfrm>
            <a:off x="926432" y="1292384"/>
            <a:ext cx="11265567" cy="1077218"/>
          </a:xfrm>
          <a:prstGeom prst="rect">
            <a:avLst/>
          </a:prstGeom>
          <a:noFill/>
        </p:spPr>
        <p:txBody>
          <a:bodyPr wrap="square">
            <a:spAutoFit/>
          </a:bodyPr>
          <a:lstStyle/>
          <a:p>
            <a:r>
              <a:rPr lang="en-IE" sz="1600" dirty="0">
                <a:gradFill>
                  <a:gsLst>
                    <a:gs pos="0">
                      <a:schemeClr val="bg1"/>
                    </a:gs>
                    <a:gs pos="100000">
                      <a:srgbClr val="0E8BAB">
                        <a:lumMod val="30000"/>
                        <a:lumOff val="70000"/>
                      </a:srgbClr>
                    </a:gs>
                  </a:gsLst>
                  <a:lin ang="0" scaled="1"/>
                </a:gradFill>
                <a:latin typeface="BearingPoint Sans L + C" pitchFamily="2" charset="77"/>
              </a:rPr>
              <a:t>AI Literacy Definition (EU AI Act):</a:t>
            </a:r>
          </a:p>
          <a:p>
            <a:r>
              <a:rPr lang="en-IE" sz="1600" dirty="0">
                <a:gradFill>
                  <a:gsLst>
                    <a:gs pos="0">
                      <a:schemeClr val="bg1"/>
                    </a:gs>
                    <a:gs pos="100000">
                      <a:srgbClr val="0E8BAB">
                        <a:lumMod val="30000"/>
                        <a:lumOff val="70000"/>
                      </a:srgbClr>
                    </a:gs>
                  </a:gsLst>
                  <a:lin ang="0" scaled="1"/>
                </a:gradFill>
                <a:latin typeface="BearingPoint Sans L + C" pitchFamily="2" charset="77"/>
              </a:rPr>
              <a:t>skills, knowledge and understanding that allows providers, deployers and affected persons, taking into account their respective rights and obligations in the context of this Regulation, to make an informed deployment of AI systems, as well as to gain awareness about the opportunities and risks of AI and possible harm it can cause;</a:t>
            </a:r>
          </a:p>
        </p:txBody>
      </p:sp>
      <p:sp>
        <p:nvSpPr>
          <p:cNvPr id="15" name="TextBox 14">
            <a:extLst>
              <a:ext uri="{FF2B5EF4-FFF2-40B4-BE49-F238E27FC236}">
                <a16:creationId xmlns:a16="http://schemas.microsoft.com/office/drawing/2014/main" id="{9F68CCCD-1700-346C-11FF-EF2128C9D564}"/>
              </a:ext>
            </a:extLst>
          </p:cNvPr>
          <p:cNvSpPr txBox="1"/>
          <p:nvPr/>
        </p:nvSpPr>
        <p:spPr>
          <a:xfrm>
            <a:off x="8666686" y="5937861"/>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spTree>
    <p:extLst>
      <p:ext uri="{BB962C8B-B14F-4D97-AF65-F5344CB8AC3E}">
        <p14:creationId xmlns:p14="http://schemas.microsoft.com/office/powerpoint/2010/main" val="1633290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2700A7F2-370F-9551-139F-34E02722D373}"/>
              </a:ext>
            </a:extLst>
          </p:cNvPr>
          <p:cNvSpPr>
            <a:spLocks noGrp="1"/>
          </p:cNvSpPr>
          <p:nvPr>
            <p:ph type="title"/>
          </p:nvPr>
        </p:nvSpPr>
        <p:spPr>
          <a:xfrm>
            <a:off x="452581" y="411307"/>
            <a:ext cx="11321441" cy="978729"/>
          </a:xfrm>
        </p:spPr>
        <p:txBody>
          <a:bodyPr/>
          <a:lstStyle/>
          <a:p>
            <a:pPr algn="l"/>
            <a:r>
              <a:rPr lang="en-IE" dirty="0"/>
              <a:t>Towards a mature AI Governance Framework</a:t>
            </a:r>
            <a:br>
              <a:rPr lang="en-IE" dirty="0"/>
            </a:br>
            <a:r>
              <a:rPr lang="en-IE" dirty="0"/>
              <a:t>Apply critical thinking</a:t>
            </a:r>
          </a:p>
        </p:txBody>
      </p:sp>
      <p:sp>
        <p:nvSpPr>
          <p:cNvPr id="13" name="Content Placeholder 12">
            <a:extLst>
              <a:ext uri="{FF2B5EF4-FFF2-40B4-BE49-F238E27FC236}">
                <a16:creationId xmlns:a16="http://schemas.microsoft.com/office/drawing/2014/main" id="{6FD0513B-E391-1DE9-9FE7-475988277AF3}"/>
              </a:ext>
            </a:extLst>
          </p:cNvPr>
          <p:cNvSpPr>
            <a:spLocks noGrp="1"/>
          </p:cNvSpPr>
          <p:nvPr>
            <p:ph idx="1"/>
          </p:nvPr>
        </p:nvSpPr>
        <p:spPr>
          <a:xfrm>
            <a:off x="838200" y="1548085"/>
            <a:ext cx="5154638" cy="4850559"/>
          </a:xfrm>
        </p:spPr>
        <p:txBody>
          <a:bodyPr/>
          <a:lstStyle/>
          <a:p>
            <a:r>
              <a:rPr lang="en-IE"/>
              <a:t>What are the Trust requirements for you data product?</a:t>
            </a:r>
          </a:p>
          <a:p>
            <a:pPr lvl="1"/>
            <a:r>
              <a:rPr lang="en-IE"/>
              <a:t>Is statistical relevance (inferred or trained) appropriate for the use of your data product?</a:t>
            </a:r>
          </a:p>
          <a:p>
            <a:pPr lvl="1"/>
            <a:endParaRPr lang="en-IE"/>
          </a:p>
          <a:p>
            <a:r>
              <a:rPr lang="en-IE"/>
              <a:t>We need to extend the notion of data literacy to include both the question and the answer side of the equation.</a:t>
            </a:r>
          </a:p>
          <a:p>
            <a:endParaRPr lang="en-IE"/>
          </a:p>
          <a:p>
            <a:r>
              <a:rPr lang="en-IE"/>
              <a:t>Plan for a broad data (science) and AI awareness session in your organisation in the long run and GPT solutions immediately.</a:t>
            </a:r>
          </a:p>
          <a:p>
            <a:endParaRPr lang="en-IE"/>
          </a:p>
          <a:p>
            <a:endParaRPr lang="en-IE"/>
          </a:p>
        </p:txBody>
      </p:sp>
      <p:pic>
        <p:nvPicPr>
          <p:cNvPr id="3076" name="Picture 4" descr="10,461 Critical Thinking Images, Stock Photos &amp; Vectors | Shutterstock">
            <a:extLst>
              <a:ext uri="{FF2B5EF4-FFF2-40B4-BE49-F238E27FC236}">
                <a16:creationId xmlns:a16="http://schemas.microsoft.com/office/drawing/2014/main" id="{856CBA8B-0D92-E945-0880-956E684F4A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0000"/>
          <a:stretch/>
        </p:blipFill>
        <p:spPr bwMode="auto">
          <a:xfrm>
            <a:off x="6303819" y="1175106"/>
            <a:ext cx="5506508" cy="1638300"/>
          </a:xfrm>
          <a:prstGeom prst="rect">
            <a:avLst/>
          </a:prstGeom>
          <a:noFill/>
          <a:extLst>
            <a:ext uri="{909E8E84-426E-40DD-AFC4-6F175D3DCCD1}">
              <a14:hiddenFill xmlns:a14="http://schemas.microsoft.com/office/drawing/2010/main">
                <a:solidFill>
                  <a:srgbClr val="FFFFFF"/>
                </a:solidFill>
              </a14:hiddenFill>
            </a:ext>
          </a:extLst>
        </p:spPr>
      </p:pic>
      <p:sp>
        <p:nvSpPr>
          <p:cNvPr id="8" name="Freeform 7">
            <a:extLst>
              <a:ext uri="{FF2B5EF4-FFF2-40B4-BE49-F238E27FC236}">
                <a16:creationId xmlns:a16="http://schemas.microsoft.com/office/drawing/2014/main" id="{18937836-8B92-AE38-3908-914B16F45077}"/>
              </a:ext>
            </a:extLst>
          </p:cNvPr>
          <p:cNvSpPr/>
          <p:nvPr/>
        </p:nvSpPr>
        <p:spPr>
          <a:xfrm>
            <a:off x="6837050" y="3104147"/>
            <a:ext cx="1342386" cy="869563"/>
          </a:xfrm>
          <a:custGeom>
            <a:avLst/>
            <a:gdLst>
              <a:gd name="connsiteX0" fmla="*/ 0 w 1235273"/>
              <a:gd name="connsiteY0" fmla="*/ 0 h 396505"/>
              <a:gd name="connsiteX1" fmla="*/ 1235273 w 1235273"/>
              <a:gd name="connsiteY1" fmla="*/ 0 h 396505"/>
              <a:gd name="connsiteX2" fmla="*/ 1235273 w 1235273"/>
              <a:gd name="connsiteY2" fmla="*/ 396505 h 396505"/>
              <a:gd name="connsiteX3" fmla="*/ 0 w 1235273"/>
              <a:gd name="connsiteY3" fmla="*/ 396505 h 396505"/>
              <a:gd name="connsiteX4" fmla="*/ 0 w 1235273"/>
              <a:gd name="connsiteY4" fmla="*/ 0 h 39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5273" h="396505">
                <a:moveTo>
                  <a:pt x="0" y="0"/>
                </a:moveTo>
                <a:lnTo>
                  <a:pt x="1235273" y="0"/>
                </a:lnTo>
                <a:lnTo>
                  <a:pt x="1235273" y="396505"/>
                </a:lnTo>
                <a:lnTo>
                  <a:pt x="0" y="396505"/>
                </a:lnTo>
                <a:lnTo>
                  <a:pt x="0" y="0"/>
                </a:lnTo>
                <a:close/>
              </a:path>
            </a:pathLst>
          </a:custGeom>
        </p:spPr>
        <p:style>
          <a:lnRef idx="2">
            <a:schemeClr val="accent5">
              <a:hueOff val="0"/>
              <a:satOff val="0"/>
              <a:lumOff val="0"/>
              <a:alphaOff val="0"/>
            </a:schemeClr>
          </a:lnRef>
          <a:fillRef idx="1">
            <a:schemeClr val="accent5">
              <a:hueOff val="0"/>
              <a:satOff val="0"/>
              <a:lumOff val="0"/>
              <a:alphaOff val="0"/>
            </a:schemeClr>
          </a:fillRef>
          <a:effectRef idx="1">
            <a:schemeClr val="accent5">
              <a:hueOff val="0"/>
              <a:satOff val="0"/>
              <a:lumOff val="0"/>
              <a:alphaOff val="0"/>
            </a:schemeClr>
          </a:effectRef>
          <a:fontRef idx="minor">
            <a:schemeClr val="lt1"/>
          </a:fontRef>
        </p:style>
        <p:txBody>
          <a:bodyPr spcFirstLastPara="0" vert="horz" wrap="square" lIns="26670" tIns="0" rIns="374253" bIns="0" numCol="1" spcCol="1270" anchor="ctr" anchorCtr="0">
            <a:noAutofit/>
          </a:bodyPr>
          <a:lstStyle/>
          <a:p>
            <a:pPr marL="0" lvl="0" indent="0" algn="l" defTabSz="311150">
              <a:lnSpc>
                <a:spcPct val="90000"/>
              </a:lnSpc>
              <a:spcBef>
                <a:spcPct val="0"/>
              </a:spcBef>
              <a:spcAft>
                <a:spcPct val="35000"/>
              </a:spcAft>
              <a:buNone/>
            </a:pPr>
            <a:r>
              <a:rPr lang="en-GB" sz="1200" kern="1200" dirty="0"/>
              <a:t>Evaluate the output thoroughly.</a:t>
            </a:r>
          </a:p>
        </p:txBody>
      </p:sp>
      <p:sp>
        <p:nvSpPr>
          <p:cNvPr id="9" name="Oval 8">
            <a:extLst>
              <a:ext uri="{FF2B5EF4-FFF2-40B4-BE49-F238E27FC236}">
                <a16:creationId xmlns:a16="http://schemas.microsoft.com/office/drawing/2014/main" id="{0D9B1F1B-CEA0-19DB-EF00-AD00E1491748}"/>
              </a:ext>
            </a:extLst>
          </p:cNvPr>
          <p:cNvSpPr/>
          <p:nvPr/>
        </p:nvSpPr>
        <p:spPr>
          <a:xfrm>
            <a:off x="7849016" y="3640186"/>
            <a:ext cx="432345" cy="432345"/>
          </a:xfrm>
          <a:prstGeom prst="ellipse">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txBody>
          <a:bodyPr/>
          <a:lstStyle/>
          <a:p>
            <a:endParaRPr lang="en-IE" sz="4000" dirty="0"/>
          </a:p>
        </p:txBody>
      </p:sp>
      <p:sp>
        <p:nvSpPr>
          <p:cNvPr id="12" name="Freeform 11">
            <a:extLst>
              <a:ext uri="{FF2B5EF4-FFF2-40B4-BE49-F238E27FC236}">
                <a16:creationId xmlns:a16="http://schemas.microsoft.com/office/drawing/2014/main" id="{24FB28D5-D4AA-1AB7-E8BE-380848F80CC4}"/>
              </a:ext>
            </a:extLst>
          </p:cNvPr>
          <p:cNvSpPr/>
          <p:nvPr/>
        </p:nvSpPr>
        <p:spPr>
          <a:xfrm>
            <a:off x="8281361" y="3104147"/>
            <a:ext cx="1342386" cy="869563"/>
          </a:xfrm>
          <a:custGeom>
            <a:avLst/>
            <a:gdLst>
              <a:gd name="connsiteX0" fmla="*/ 0 w 1235273"/>
              <a:gd name="connsiteY0" fmla="*/ 0 h 396505"/>
              <a:gd name="connsiteX1" fmla="*/ 1235273 w 1235273"/>
              <a:gd name="connsiteY1" fmla="*/ 0 h 396505"/>
              <a:gd name="connsiteX2" fmla="*/ 1235273 w 1235273"/>
              <a:gd name="connsiteY2" fmla="*/ 396505 h 396505"/>
              <a:gd name="connsiteX3" fmla="*/ 0 w 1235273"/>
              <a:gd name="connsiteY3" fmla="*/ 396505 h 396505"/>
              <a:gd name="connsiteX4" fmla="*/ 0 w 1235273"/>
              <a:gd name="connsiteY4" fmla="*/ 0 h 39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5273" h="396505">
                <a:moveTo>
                  <a:pt x="0" y="0"/>
                </a:moveTo>
                <a:lnTo>
                  <a:pt x="1235273" y="0"/>
                </a:lnTo>
                <a:lnTo>
                  <a:pt x="1235273" y="396505"/>
                </a:lnTo>
                <a:lnTo>
                  <a:pt x="0" y="396505"/>
                </a:lnTo>
                <a:lnTo>
                  <a:pt x="0" y="0"/>
                </a:lnTo>
                <a:close/>
              </a:path>
            </a:pathLst>
          </a:custGeom>
        </p:spPr>
        <p:style>
          <a:lnRef idx="2">
            <a:schemeClr val="accent5">
              <a:hueOff val="-1351709"/>
              <a:satOff val="-3484"/>
              <a:lumOff val="-2353"/>
              <a:alphaOff val="0"/>
            </a:schemeClr>
          </a:lnRef>
          <a:fillRef idx="1">
            <a:schemeClr val="accent5">
              <a:hueOff val="-1351709"/>
              <a:satOff val="-3484"/>
              <a:lumOff val="-2353"/>
              <a:alphaOff val="0"/>
            </a:schemeClr>
          </a:fillRef>
          <a:effectRef idx="1">
            <a:schemeClr val="accent5">
              <a:hueOff val="-1351709"/>
              <a:satOff val="-3484"/>
              <a:lumOff val="-2353"/>
              <a:alphaOff val="0"/>
            </a:schemeClr>
          </a:effectRef>
          <a:fontRef idx="minor">
            <a:schemeClr val="lt1"/>
          </a:fontRef>
        </p:style>
        <p:txBody>
          <a:bodyPr spcFirstLastPara="0" vert="horz" wrap="square" lIns="26670" tIns="0" rIns="374253" bIns="0" numCol="1" spcCol="1270" anchor="ctr" anchorCtr="0">
            <a:noAutofit/>
          </a:bodyPr>
          <a:lstStyle/>
          <a:p>
            <a:pPr marL="0" lvl="0" indent="0" algn="l" defTabSz="311150">
              <a:lnSpc>
                <a:spcPct val="90000"/>
              </a:lnSpc>
              <a:spcBef>
                <a:spcPct val="0"/>
              </a:spcBef>
              <a:spcAft>
                <a:spcPct val="35000"/>
              </a:spcAft>
              <a:buNone/>
            </a:pPr>
            <a:r>
              <a:rPr lang="en-GB" sz="1200" kern="1200" dirty="0"/>
              <a:t>Identify limitations clearly.</a:t>
            </a:r>
          </a:p>
        </p:txBody>
      </p:sp>
      <p:sp>
        <p:nvSpPr>
          <p:cNvPr id="14" name="Oval 13">
            <a:extLst>
              <a:ext uri="{FF2B5EF4-FFF2-40B4-BE49-F238E27FC236}">
                <a16:creationId xmlns:a16="http://schemas.microsoft.com/office/drawing/2014/main" id="{B69E2147-6A96-5200-6807-77E01B54100B}"/>
              </a:ext>
            </a:extLst>
          </p:cNvPr>
          <p:cNvSpPr/>
          <p:nvPr/>
        </p:nvSpPr>
        <p:spPr>
          <a:xfrm>
            <a:off x="9293327" y="3640186"/>
            <a:ext cx="432345" cy="432345"/>
          </a:xfrm>
          <a:prstGeom prst="ellipse">
            <a:avLst/>
          </a:prstGeom>
        </p:spPr>
        <p:style>
          <a:lnRef idx="2">
            <a:schemeClr val="accent5">
              <a:tint val="40000"/>
              <a:alpha val="90000"/>
              <a:hueOff val="0"/>
              <a:satOff val="0"/>
              <a:lumOff val="0"/>
              <a:alphaOff val="0"/>
            </a:schemeClr>
          </a:lnRef>
          <a:fillRef idx="1">
            <a:schemeClr val="accent5">
              <a:tint val="40000"/>
              <a:alpha val="90000"/>
              <a:hueOff val="-1347952"/>
              <a:satOff val="-4566"/>
              <a:lumOff val="-586"/>
              <a:alphaOff val="0"/>
            </a:schemeClr>
          </a:fillRef>
          <a:effectRef idx="0">
            <a:schemeClr val="accent5">
              <a:tint val="40000"/>
              <a:alpha val="90000"/>
              <a:hueOff val="-1347952"/>
              <a:satOff val="-4566"/>
              <a:lumOff val="-586"/>
              <a:alphaOff val="0"/>
            </a:schemeClr>
          </a:effectRef>
          <a:fontRef idx="minor">
            <a:schemeClr val="dk1">
              <a:hueOff val="0"/>
              <a:satOff val="0"/>
              <a:lumOff val="0"/>
              <a:alphaOff val="0"/>
            </a:schemeClr>
          </a:fontRef>
        </p:style>
        <p:txBody>
          <a:bodyPr/>
          <a:lstStyle/>
          <a:p>
            <a:endParaRPr lang="en-IE" sz="4000"/>
          </a:p>
        </p:txBody>
      </p:sp>
      <p:sp>
        <p:nvSpPr>
          <p:cNvPr id="17" name="Freeform 16">
            <a:extLst>
              <a:ext uri="{FF2B5EF4-FFF2-40B4-BE49-F238E27FC236}">
                <a16:creationId xmlns:a16="http://schemas.microsoft.com/office/drawing/2014/main" id="{D5494D72-EED1-21E6-EC5B-303708377D47}"/>
              </a:ext>
            </a:extLst>
          </p:cNvPr>
          <p:cNvSpPr/>
          <p:nvPr/>
        </p:nvSpPr>
        <p:spPr>
          <a:xfrm>
            <a:off x="9725672" y="3104147"/>
            <a:ext cx="1342386" cy="869563"/>
          </a:xfrm>
          <a:custGeom>
            <a:avLst/>
            <a:gdLst>
              <a:gd name="connsiteX0" fmla="*/ 0 w 1235273"/>
              <a:gd name="connsiteY0" fmla="*/ 0 h 396505"/>
              <a:gd name="connsiteX1" fmla="*/ 1235273 w 1235273"/>
              <a:gd name="connsiteY1" fmla="*/ 0 h 396505"/>
              <a:gd name="connsiteX2" fmla="*/ 1235273 w 1235273"/>
              <a:gd name="connsiteY2" fmla="*/ 396505 h 396505"/>
              <a:gd name="connsiteX3" fmla="*/ 0 w 1235273"/>
              <a:gd name="connsiteY3" fmla="*/ 396505 h 396505"/>
              <a:gd name="connsiteX4" fmla="*/ 0 w 1235273"/>
              <a:gd name="connsiteY4" fmla="*/ 0 h 39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5273" h="396505">
                <a:moveTo>
                  <a:pt x="0" y="0"/>
                </a:moveTo>
                <a:lnTo>
                  <a:pt x="1235273" y="0"/>
                </a:lnTo>
                <a:lnTo>
                  <a:pt x="1235273" y="396505"/>
                </a:lnTo>
                <a:lnTo>
                  <a:pt x="0" y="396505"/>
                </a:lnTo>
                <a:lnTo>
                  <a:pt x="0" y="0"/>
                </a:lnTo>
                <a:close/>
              </a:path>
            </a:pathLst>
          </a:custGeom>
        </p:spPr>
        <p:style>
          <a:lnRef idx="2">
            <a:schemeClr val="accent5">
              <a:hueOff val="-2703417"/>
              <a:satOff val="-6968"/>
              <a:lumOff val="-4706"/>
              <a:alphaOff val="0"/>
            </a:schemeClr>
          </a:lnRef>
          <a:fillRef idx="1">
            <a:schemeClr val="accent5">
              <a:hueOff val="-2703417"/>
              <a:satOff val="-6968"/>
              <a:lumOff val="-4706"/>
              <a:alphaOff val="0"/>
            </a:schemeClr>
          </a:fillRef>
          <a:effectRef idx="1">
            <a:schemeClr val="accent5">
              <a:hueOff val="-2703417"/>
              <a:satOff val="-6968"/>
              <a:lumOff val="-4706"/>
              <a:alphaOff val="0"/>
            </a:schemeClr>
          </a:effectRef>
          <a:fontRef idx="minor">
            <a:schemeClr val="lt1"/>
          </a:fontRef>
        </p:style>
        <p:txBody>
          <a:bodyPr spcFirstLastPara="0" vert="horz" wrap="square" lIns="26670" tIns="0" rIns="374253" bIns="0" numCol="1" spcCol="1270" anchor="ctr" anchorCtr="0">
            <a:noAutofit/>
          </a:bodyPr>
          <a:lstStyle/>
          <a:p>
            <a:pPr marL="0" lvl="0" indent="0" algn="l" defTabSz="311150">
              <a:lnSpc>
                <a:spcPct val="90000"/>
              </a:lnSpc>
              <a:spcBef>
                <a:spcPct val="0"/>
              </a:spcBef>
              <a:spcAft>
                <a:spcPct val="35000"/>
              </a:spcAft>
              <a:buNone/>
            </a:pPr>
            <a:r>
              <a:rPr lang="en-GB" sz="1200" kern="1200" dirty="0"/>
              <a:t>Consider ethical implications.</a:t>
            </a:r>
          </a:p>
        </p:txBody>
      </p:sp>
      <p:sp>
        <p:nvSpPr>
          <p:cNvPr id="18" name="Oval 17">
            <a:extLst>
              <a:ext uri="{FF2B5EF4-FFF2-40B4-BE49-F238E27FC236}">
                <a16:creationId xmlns:a16="http://schemas.microsoft.com/office/drawing/2014/main" id="{AA9B0D9C-9E7E-558F-ED52-FCA1A865387B}"/>
              </a:ext>
            </a:extLst>
          </p:cNvPr>
          <p:cNvSpPr/>
          <p:nvPr/>
        </p:nvSpPr>
        <p:spPr>
          <a:xfrm>
            <a:off x="10737639" y="3640186"/>
            <a:ext cx="432345" cy="432345"/>
          </a:xfrm>
          <a:prstGeom prst="ellipse">
            <a:avLst/>
          </a:prstGeom>
        </p:spPr>
        <p:style>
          <a:lnRef idx="2">
            <a:schemeClr val="accent5">
              <a:tint val="40000"/>
              <a:alpha val="90000"/>
              <a:hueOff val="0"/>
              <a:satOff val="0"/>
              <a:lumOff val="0"/>
              <a:alphaOff val="0"/>
            </a:schemeClr>
          </a:lnRef>
          <a:fillRef idx="1">
            <a:schemeClr val="accent5">
              <a:tint val="40000"/>
              <a:alpha val="90000"/>
              <a:hueOff val="-2695905"/>
              <a:satOff val="-9133"/>
              <a:lumOff val="-1171"/>
              <a:alphaOff val="0"/>
            </a:schemeClr>
          </a:fillRef>
          <a:effectRef idx="0">
            <a:schemeClr val="accent5">
              <a:tint val="40000"/>
              <a:alpha val="90000"/>
              <a:hueOff val="-2695905"/>
              <a:satOff val="-9133"/>
              <a:lumOff val="-1171"/>
              <a:alphaOff val="0"/>
            </a:schemeClr>
          </a:effectRef>
          <a:fontRef idx="minor">
            <a:schemeClr val="dk1">
              <a:hueOff val="0"/>
              <a:satOff val="0"/>
              <a:lumOff val="0"/>
              <a:alphaOff val="0"/>
            </a:schemeClr>
          </a:fontRef>
        </p:style>
        <p:txBody>
          <a:bodyPr/>
          <a:lstStyle/>
          <a:p>
            <a:endParaRPr lang="en-IE" sz="4000"/>
          </a:p>
        </p:txBody>
      </p:sp>
      <p:sp>
        <p:nvSpPr>
          <p:cNvPr id="20" name="Freeform 19">
            <a:extLst>
              <a:ext uri="{FF2B5EF4-FFF2-40B4-BE49-F238E27FC236}">
                <a16:creationId xmlns:a16="http://schemas.microsoft.com/office/drawing/2014/main" id="{BF9B9C07-5B27-210F-94C0-A75BDE1C79E5}"/>
              </a:ext>
            </a:extLst>
          </p:cNvPr>
          <p:cNvSpPr/>
          <p:nvPr/>
        </p:nvSpPr>
        <p:spPr>
          <a:xfrm>
            <a:off x="6837050" y="4735711"/>
            <a:ext cx="1342386" cy="869563"/>
          </a:xfrm>
          <a:custGeom>
            <a:avLst/>
            <a:gdLst>
              <a:gd name="connsiteX0" fmla="*/ 0 w 1235273"/>
              <a:gd name="connsiteY0" fmla="*/ 0 h 396505"/>
              <a:gd name="connsiteX1" fmla="*/ 1235273 w 1235273"/>
              <a:gd name="connsiteY1" fmla="*/ 0 h 396505"/>
              <a:gd name="connsiteX2" fmla="*/ 1235273 w 1235273"/>
              <a:gd name="connsiteY2" fmla="*/ 396505 h 396505"/>
              <a:gd name="connsiteX3" fmla="*/ 0 w 1235273"/>
              <a:gd name="connsiteY3" fmla="*/ 396505 h 396505"/>
              <a:gd name="connsiteX4" fmla="*/ 0 w 1235273"/>
              <a:gd name="connsiteY4" fmla="*/ 0 h 39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5273" h="396505">
                <a:moveTo>
                  <a:pt x="0" y="0"/>
                </a:moveTo>
                <a:lnTo>
                  <a:pt x="1235273" y="0"/>
                </a:lnTo>
                <a:lnTo>
                  <a:pt x="1235273" y="396505"/>
                </a:lnTo>
                <a:lnTo>
                  <a:pt x="0" y="396505"/>
                </a:lnTo>
                <a:lnTo>
                  <a:pt x="0" y="0"/>
                </a:lnTo>
                <a:close/>
              </a:path>
            </a:pathLst>
          </a:custGeom>
        </p:spPr>
        <p:style>
          <a:lnRef idx="2">
            <a:schemeClr val="accent5">
              <a:hueOff val="-4055126"/>
              <a:satOff val="-10451"/>
              <a:lumOff val="-7059"/>
              <a:alphaOff val="0"/>
            </a:schemeClr>
          </a:lnRef>
          <a:fillRef idx="1">
            <a:schemeClr val="accent5">
              <a:hueOff val="-4055126"/>
              <a:satOff val="-10451"/>
              <a:lumOff val="-7059"/>
              <a:alphaOff val="0"/>
            </a:schemeClr>
          </a:fillRef>
          <a:effectRef idx="1">
            <a:schemeClr val="accent5">
              <a:hueOff val="-4055126"/>
              <a:satOff val="-10451"/>
              <a:lumOff val="-7059"/>
              <a:alphaOff val="0"/>
            </a:schemeClr>
          </a:effectRef>
          <a:fontRef idx="minor">
            <a:schemeClr val="lt1"/>
          </a:fontRef>
        </p:style>
        <p:txBody>
          <a:bodyPr spcFirstLastPara="0" vert="horz" wrap="square" lIns="26670" tIns="0" rIns="374253" bIns="0" numCol="1" spcCol="1270" anchor="ctr" anchorCtr="0">
            <a:noAutofit/>
          </a:bodyPr>
          <a:lstStyle/>
          <a:p>
            <a:pPr marL="0" lvl="0" indent="0" algn="l" defTabSz="311150">
              <a:lnSpc>
                <a:spcPct val="90000"/>
              </a:lnSpc>
              <a:spcBef>
                <a:spcPct val="0"/>
              </a:spcBef>
              <a:spcAft>
                <a:spcPct val="35000"/>
              </a:spcAft>
              <a:buNone/>
            </a:pPr>
            <a:r>
              <a:rPr lang="en-GB" sz="1200" kern="1200" dirty="0"/>
              <a:t>Challenge assumptions boldly.</a:t>
            </a:r>
          </a:p>
        </p:txBody>
      </p:sp>
      <p:sp>
        <p:nvSpPr>
          <p:cNvPr id="21" name="Oval 20">
            <a:extLst>
              <a:ext uri="{FF2B5EF4-FFF2-40B4-BE49-F238E27FC236}">
                <a16:creationId xmlns:a16="http://schemas.microsoft.com/office/drawing/2014/main" id="{57B97DF6-0883-E622-6A66-53E0B48C1D20}"/>
              </a:ext>
            </a:extLst>
          </p:cNvPr>
          <p:cNvSpPr/>
          <p:nvPr/>
        </p:nvSpPr>
        <p:spPr>
          <a:xfrm>
            <a:off x="7849016" y="5271750"/>
            <a:ext cx="432345" cy="432345"/>
          </a:xfrm>
          <a:prstGeom prst="ellipse">
            <a:avLst/>
          </a:prstGeom>
        </p:spPr>
        <p:style>
          <a:lnRef idx="2">
            <a:schemeClr val="accent5">
              <a:tint val="40000"/>
              <a:alpha val="90000"/>
              <a:hueOff val="0"/>
              <a:satOff val="0"/>
              <a:lumOff val="0"/>
              <a:alphaOff val="0"/>
            </a:schemeClr>
          </a:lnRef>
          <a:fillRef idx="1">
            <a:schemeClr val="accent5">
              <a:tint val="40000"/>
              <a:alpha val="90000"/>
              <a:hueOff val="-4043857"/>
              <a:satOff val="-13699"/>
              <a:lumOff val="-1757"/>
              <a:alphaOff val="0"/>
            </a:schemeClr>
          </a:fillRef>
          <a:effectRef idx="0">
            <a:schemeClr val="accent5">
              <a:tint val="40000"/>
              <a:alpha val="90000"/>
              <a:hueOff val="-4043857"/>
              <a:satOff val="-13699"/>
              <a:lumOff val="-1757"/>
              <a:alphaOff val="0"/>
            </a:schemeClr>
          </a:effectRef>
          <a:fontRef idx="minor">
            <a:schemeClr val="dk1">
              <a:hueOff val="0"/>
              <a:satOff val="0"/>
              <a:lumOff val="0"/>
              <a:alphaOff val="0"/>
            </a:schemeClr>
          </a:fontRef>
        </p:style>
        <p:txBody>
          <a:bodyPr/>
          <a:lstStyle/>
          <a:p>
            <a:endParaRPr lang="en-IE" sz="4000"/>
          </a:p>
        </p:txBody>
      </p:sp>
      <p:sp>
        <p:nvSpPr>
          <p:cNvPr id="23" name="Freeform 22">
            <a:extLst>
              <a:ext uri="{FF2B5EF4-FFF2-40B4-BE49-F238E27FC236}">
                <a16:creationId xmlns:a16="http://schemas.microsoft.com/office/drawing/2014/main" id="{B2E4C146-1B21-8D11-5669-9904CE00BA12}"/>
              </a:ext>
            </a:extLst>
          </p:cNvPr>
          <p:cNvSpPr/>
          <p:nvPr/>
        </p:nvSpPr>
        <p:spPr>
          <a:xfrm>
            <a:off x="8281361" y="4735711"/>
            <a:ext cx="1342386" cy="869563"/>
          </a:xfrm>
          <a:custGeom>
            <a:avLst/>
            <a:gdLst>
              <a:gd name="connsiteX0" fmla="*/ 0 w 1235273"/>
              <a:gd name="connsiteY0" fmla="*/ 0 h 396505"/>
              <a:gd name="connsiteX1" fmla="*/ 1235273 w 1235273"/>
              <a:gd name="connsiteY1" fmla="*/ 0 h 396505"/>
              <a:gd name="connsiteX2" fmla="*/ 1235273 w 1235273"/>
              <a:gd name="connsiteY2" fmla="*/ 396505 h 396505"/>
              <a:gd name="connsiteX3" fmla="*/ 0 w 1235273"/>
              <a:gd name="connsiteY3" fmla="*/ 396505 h 396505"/>
              <a:gd name="connsiteX4" fmla="*/ 0 w 1235273"/>
              <a:gd name="connsiteY4" fmla="*/ 0 h 39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5273" h="396505">
                <a:moveTo>
                  <a:pt x="0" y="0"/>
                </a:moveTo>
                <a:lnTo>
                  <a:pt x="1235273" y="0"/>
                </a:lnTo>
                <a:lnTo>
                  <a:pt x="1235273" y="396505"/>
                </a:lnTo>
                <a:lnTo>
                  <a:pt x="0" y="396505"/>
                </a:lnTo>
                <a:lnTo>
                  <a:pt x="0" y="0"/>
                </a:lnTo>
                <a:close/>
              </a:path>
            </a:pathLst>
          </a:custGeom>
        </p:spPr>
        <p:style>
          <a:lnRef idx="2">
            <a:schemeClr val="accent5">
              <a:hueOff val="-5406834"/>
              <a:satOff val="-13935"/>
              <a:lumOff val="-9412"/>
              <a:alphaOff val="0"/>
            </a:schemeClr>
          </a:lnRef>
          <a:fillRef idx="1">
            <a:schemeClr val="accent5">
              <a:hueOff val="-5406834"/>
              <a:satOff val="-13935"/>
              <a:lumOff val="-9412"/>
              <a:alphaOff val="0"/>
            </a:schemeClr>
          </a:fillRef>
          <a:effectRef idx="1">
            <a:schemeClr val="accent5">
              <a:hueOff val="-5406834"/>
              <a:satOff val="-13935"/>
              <a:lumOff val="-9412"/>
              <a:alphaOff val="0"/>
            </a:schemeClr>
          </a:effectRef>
          <a:fontRef idx="minor">
            <a:schemeClr val="lt1"/>
          </a:fontRef>
        </p:style>
        <p:txBody>
          <a:bodyPr spcFirstLastPara="0" vert="horz" wrap="square" lIns="26670" tIns="0" rIns="374253" bIns="0" numCol="1" spcCol="1270" anchor="ctr" anchorCtr="0">
            <a:noAutofit/>
          </a:bodyPr>
          <a:lstStyle/>
          <a:p>
            <a:pPr marL="0" lvl="0" indent="0" algn="l" defTabSz="311150">
              <a:lnSpc>
                <a:spcPct val="90000"/>
              </a:lnSpc>
              <a:spcBef>
                <a:spcPct val="0"/>
              </a:spcBef>
              <a:spcAft>
                <a:spcPct val="35000"/>
              </a:spcAft>
              <a:buNone/>
            </a:pPr>
            <a:r>
              <a:rPr lang="en-GB" sz="1200" kern="1200" dirty="0"/>
              <a:t>Seek alternative perspectives actively.</a:t>
            </a:r>
          </a:p>
        </p:txBody>
      </p:sp>
      <p:sp>
        <p:nvSpPr>
          <p:cNvPr id="24" name="Oval 23">
            <a:extLst>
              <a:ext uri="{FF2B5EF4-FFF2-40B4-BE49-F238E27FC236}">
                <a16:creationId xmlns:a16="http://schemas.microsoft.com/office/drawing/2014/main" id="{C73DDD74-B9A4-1BF5-1C5B-80FD24E5454B}"/>
              </a:ext>
            </a:extLst>
          </p:cNvPr>
          <p:cNvSpPr/>
          <p:nvPr/>
        </p:nvSpPr>
        <p:spPr>
          <a:xfrm>
            <a:off x="9293327" y="5271750"/>
            <a:ext cx="432345" cy="432345"/>
          </a:xfrm>
          <a:prstGeom prst="ellipse">
            <a:avLst/>
          </a:prstGeom>
        </p:spPr>
        <p:style>
          <a:lnRef idx="2">
            <a:schemeClr val="accent5">
              <a:tint val="40000"/>
              <a:alpha val="90000"/>
              <a:hueOff val="0"/>
              <a:satOff val="0"/>
              <a:lumOff val="0"/>
              <a:alphaOff val="0"/>
            </a:schemeClr>
          </a:lnRef>
          <a:fillRef idx="1">
            <a:schemeClr val="accent5">
              <a:tint val="40000"/>
              <a:alpha val="90000"/>
              <a:hueOff val="-5391809"/>
              <a:satOff val="-18266"/>
              <a:lumOff val="-2342"/>
              <a:alphaOff val="0"/>
            </a:schemeClr>
          </a:fillRef>
          <a:effectRef idx="0">
            <a:schemeClr val="accent5">
              <a:tint val="40000"/>
              <a:alpha val="90000"/>
              <a:hueOff val="-5391809"/>
              <a:satOff val="-18266"/>
              <a:lumOff val="-2342"/>
              <a:alphaOff val="0"/>
            </a:schemeClr>
          </a:effectRef>
          <a:fontRef idx="minor">
            <a:schemeClr val="dk1">
              <a:hueOff val="0"/>
              <a:satOff val="0"/>
              <a:lumOff val="0"/>
              <a:alphaOff val="0"/>
            </a:schemeClr>
          </a:fontRef>
        </p:style>
        <p:txBody>
          <a:bodyPr/>
          <a:lstStyle/>
          <a:p>
            <a:endParaRPr lang="en-IE" sz="4000"/>
          </a:p>
        </p:txBody>
      </p:sp>
      <p:sp>
        <p:nvSpPr>
          <p:cNvPr id="26" name="Freeform 25">
            <a:extLst>
              <a:ext uri="{FF2B5EF4-FFF2-40B4-BE49-F238E27FC236}">
                <a16:creationId xmlns:a16="http://schemas.microsoft.com/office/drawing/2014/main" id="{8E9C98B3-6897-9F55-1F12-06801365F5C5}"/>
              </a:ext>
            </a:extLst>
          </p:cNvPr>
          <p:cNvSpPr/>
          <p:nvPr/>
        </p:nvSpPr>
        <p:spPr>
          <a:xfrm>
            <a:off x="9725672" y="4735711"/>
            <a:ext cx="1342386" cy="869563"/>
          </a:xfrm>
          <a:custGeom>
            <a:avLst/>
            <a:gdLst>
              <a:gd name="connsiteX0" fmla="*/ 0 w 1235273"/>
              <a:gd name="connsiteY0" fmla="*/ 0 h 396505"/>
              <a:gd name="connsiteX1" fmla="*/ 1235273 w 1235273"/>
              <a:gd name="connsiteY1" fmla="*/ 0 h 396505"/>
              <a:gd name="connsiteX2" fmla="*/ 1235273 w 1235273"/>
              <a:gd name="connsiteY2" fmla="*/ 396505 h 396505"/>
              <a:gd name="connsiteX3" fmla="*/ 0 w 1235273"/>
              <a:gd name="connsiteY3" fmla="*/ 396505 h 396505"/>
              <a:gd name="connsiteX4" fmla="*/ 0 w 1235273"/>
              <a:gd name="connsiteY4" fmla="*/ 0 h 396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5273" h="396505">
                <a:moveTo>
                  <a:pt x="0" y="0"/>
                </a:moveTo>
                <a:lnTo>
                  <a:pt x="1235273" y="0"/>
                </a:lnTo>
                <a:lnTo>
                  <a:pt x="1235273" y="396505"/>
                </a:lnTo>
                <a:lnTo>
                  <a:pt x="0" y="396505"/>
                </a:lnTo>
                <a:lnTo>
                  <a:pt x="0" y="0"/>
                </a:lnTo>
                <a:close/>
              </a:path>
            </a:pathLst>
          </a:custGeom>
        </p:spPr>
        <p:style>
          <a:lnRef idx="2">
            <a:schemeClr val="accent5">
              <a:hueOff val="-6758543"/>
              <a:satOff val="-17419"/>
              <a:lumOff val="-11765"/>
              <a:alphaOff val="0"/>
            </a:schemeClr>
          </a:lnRef>
          <a:fillRef idx="1">
            <a:schemeClr val="accent5">
              <a:hueOff val="-6758543"/>
              <a:satOff val="-17419"/>
              <a:lumOff val="-11765"/>
              <a:alphaOff val="0"/>
            </a:schemeClr>
          </a:fillRef>
          <a:effectRef idx="1">
            <a:schemeClr val="accent5">
              <a:hueOff val="-6758543"/>
              <a:satOff val="-17419"/>
              <a:lumOff val="-11765"/>
              <a:alphaOff val="0"/>
            </a:schemeClr>
          </a:effectRef>
          <a:fontRef idx="minor">
            <a:schemeClr val="lt1"/>
          </a:fontRef>
        </p:style>
        <p:txBody>
          <a:bodyPr spcFirstLastPara="0" vert="horz" wrap="square" lIns="26670" tIns="0" rIns="374253" bIns="0" numCol="1" spcCol="1270" anchor="ctr" anchorCtr="0">
            <a:noAutofit/>
          </a:bodyPr>
          <a:lstStyle/>
          <a:p>
            <a:pPr marL="0" lvl="0" indent="0" algn="l" defTabSz="311150">
              <a:lnSpc>
                <a:spcPct val="90000"/>
              </a:lnSpc>
              <a:spcBef>
                <a:spcPct val="0"/>
              </a:spcBef>
              <a:spcAft>
                <a:spcPct val="35000"/>
              </a:spcAft>
              <a:buNone/>
            </a:pPr>
            <a:r>
              <a:rPr lang="en-GB" sz="1200" kern="1200" dirty="0"/>
              <a:t>Commit to continuous learning and improvement persistently.</a:t>
            </a:r>
          </a:p>
        </p:txBody>
      </p:sp>
      <p:sp>
        <p:nvSpPr>
          <p:cNvPr id="27" name="Oval 26">
            <a:extLst>
              <a:ext uri="{FF2B5EF4-FFF2-40B4-BE49-F238E27FC236}">
                <a16:creationId xmlns:a16="http://schemas.microsoft.com/office/drawing/2014/main" id="{D7A003B8-7F2A-218C-8F5F-E6F80F84C708}"/>
              </a:ext>
            </a:extLst>
          </p:cNvPr>
          <p:cNvSpPr/>
          <p:nvPr/>
        </p:nvSpPr>
        <p:spPr>
          <a:xfrm>
            <a:off x="10737639" y="5271750"/>
            <a:ext cx="432345" cy="432345"/>
          </a:xfrm>
          <a:prstGeom prst="ellipse">
            <a:avLst/>
          </a:prstGeom>
        </p:spPr>
        <p:style>
          <a:lnRef idx="2">
            <a:schemeClr val="accent5">
              <a:tint val="40000"/>
              <a:alpha val="90000"/>
              <a:hueOff val="0"/>
              <a:satOff val="0"/>
              <a:lumOff val="0"/>
              <a:alphaOff val="0"/>
            </a:schemeClr>
          </a:lnRef>
          <a:fillRef idx="1">
            <a:schemeClr val="accent5">
              <a:tint val="40000"/>
              <a:alpha val="90000"/>
              <a:hueOff val="-6739761"/>
              <a:satOff val="-22832"/>
              <a:lumOff val="-2928"/>
              <a:alphaOff val="0"/>
            </a:schemeClr>
          </a:fillRef>
          <a:effectRef idx="0">
            <a:schemeClr val="accent5">
              <a:tint val="40000"/>
              <a:alpha val="90000"/>
              <a:hueOff val="-6739761"/>
              <a:satOff val="-22832"/>
              <a:lumOff val="-2928"/>
              <a:alphaOff val="0"/>
            </a:schemeClr>
          </a:effectRef>
          <a:fontRef idx="minor">
            <a:schemeClr val="dk1">
              <a:hueOff val="0"/>
              <a:satOff val="0"/>
              <a:lumOff val="0"/>
              <a:alphaOff val="0"/>
            </a:schemeClr>
          </a:fontRef>
        </p:style>
        <p:txBody>
          <a:bodyPr/>
          <a:lstStyle/>
          <a:p>
            <a:endParaRPr lang="en-IE" sz="4000"/>
          </a:p>
        </p:txBody>
      </p:sp>
    </p:spTree>
    <p:extLst>
      <p:ext uri="{BB962C8B-B14F-4D97-AF65-F5344CB8AC3E}">
        <p14:creationId xmlns:p14="http://schemas.microsoft.com/office/powerpoint/2010/main" val="7311534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35364-7725-3146-6154-2F5E6D595089}"/>
              </a:ext>
            </a:extLst>
          </p:cNvPr>
          <p:cNvSpPr>
            <a:spLocks noGrp="1"/>
          </p:cNvSpPr>
          <p:nvPr>
            <p:ph type="title"/>
          </p:nvPr>
        </p:nvSpPr>
        <p:spPr>
          <a:xfrm>
            <a:off x="452581" y="411307"/>
            <a:ext cx="11321441" cy="923330"/>
          </a:xfrm>
        </p:spPr>
        <p:txBody>
          <a:bodyPr/>
          <a:lstStyle/>
          <a:p>
            <a:r>
              <a:rPr lang="en-IE" dirty="0"/>
              <a:t>Data Quality</a:t>
            </a:r>
            <a:br>
              <a:rPr lang="en-IE" sz="2800" dirty="0"/>
            </a:br>
            <a:r>
              <a:rPr lang="en-IE" sz="2800" dirty="0"/>
              <a:t>What are relevant dimensions to govern?</a:t>
            </a:r>
            <a:endParaRPr lang="en-IE" dirty="0"/>
          </a:p>
        </p:txBody>
      </p:sp>
      <p:sp>
        <p:nvSpPr>
          <p:cNvPr id="3" name="Content Placeholder 2">
            <a:extLst>
              <a:ext uri="{FF2B5EF4-FFF2-40B4-BE49-F238E27FC236}">
                <a16:creationId xmlns:a16="http://schemas.microsoft.com/office/drawing/2014/main" id="{770B05EB-454C-3BDC-0EB1-EA726FA19E34}"/>
              </a:ext>
            </a:extLst>
          </p:cNvPr>
          <p:cNvSpPr>
            <a:spLocks noGrp="1"/>
          </p:cNvSpPr>
          <p:nvPr>
            <p:ph idx="1"/>
          </p:nvPr>
        </p:nvSpPr>
        <p:spPr>
          <a:xfrm>
            <a:off x="638408" y="1839133"/>
            <a:ext cx="5905384" cy="3118803"/>
          </a:xfrm>
        </p:spPr>
        <p:txBody>
          <a:bodyPr/>
          <a:lstStyle/>
          <a:p>
            <a:pPr marL="0" indent="0">
              <a:buNone/>
            </a:pPr>
            <a:r>
              <a:rPr lang="en-IE" dirty="0"/>
              <a:t>We have been using 6 data quality dimensions to cover the needs to govern our data quality framework. </a:t>
            </a:r>
            <a:br>
              <a:rPr lang="en-IE" dirty="0"/>
            </a:br>
            <a:br>
              <a:rPr lang="en-IE" dirty="0"/>
            </a:br>
            <a:r>
              <a:rPr lang="en-IE" dirty="0"/>
              <a:t>They have been proven largely sufficient to cover DQ related risks including Data Privacy requirements.</a:t>
            </a:r>
          </a:p>
          <a:p>
            <a:pPr marL="0" indent="0">
              <a:buNone/>
            </a:pPr>
            <a:endParaRPr lang="en-IE" dirty="0"/>
          </a:p>
          <a:p>
            <a:pPr marL="0" indent="0">
              <a:buNone/>
            </a:pPr>
            <a:r>
              <a:rPr lang="en-IE" dirty="0"/>
              <a:t>Can they cover all aspects of AI Governance such as bias, fairness, …?</a:t>
            </a:r>
          </a:p>
        </p:txBody>
      </p:sp>
      <p:pic>
        <p:nvPicPr>
          <p:cNvPr id="25" name="Picture 24">
            <a:extLst>
              <a:ext uri="{FF2B5EF4-FFF2-40B4-BE49-F238E27FC236}">
                <a16:creationId xmlns:a16="http://schemas.microsoft.com/office/drawing/2014/main" id="{650E0312-8F33-57B1-F414-1227E3ACEF3E}"/>
              </a:ext>
            </a:extLst>
          </p:cNvPr>
          <p:cNvPicPr>
            <a:picLocks noChangeAspect="1"/>
          </p:cNvPicPr>
          <p:nvPr/>
        </p:nvPicPr>
        <p:blipFill>
          <a:blip r:embed="rId2">
            <a:duotone>
              <a:schemeClr val="accent1">
                <a:shade val="45000"/>
                <a:satMod val="135000"/>
              </a:schemeClr>
              <a:prstClr val="white"/>
            </a:duotone>
          </a:blip>
          <a:stretch>
            <a:fillRect/>
          </a:stretch>
        </p:blipFill>
        <p:spPr>
          <a:xfrm>
            <a:off x="6543792" y="2010769"/>
            <a:ext cx="5230230" cy="3130857"/>
          </a:xfrm>
          <a:prstGeom prst="rect">
            <a:avLst/>
          </a:prstGeom>
        </p:spPr>
      </p:pic>
    </p:spTree>
    <p:extLst>
      <p:ext uri="{BB962C8B-B14F-4D97-AF65-F5344CB8AC3E}">
        <p14:creationId xmlns:p14="http://schemas.microsoft.com/office/powerpoint/2010/main" val="34605180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7F2B6C33-78D5-9A49-B7E6-C7CC927F6ADA}"/>
              </a:ext>
            </a:extLst>
          </p:cNvPr>
          <p:cNvSpPr>
            <a:spLocks noGrp="1"/>
          </p:cNvSpPr>
          <p:nvPr>
            <p:ph type="title"/>
          </p:nvPr>
        </p:nvSpPr>
        <p:spPr>
          <a:xfrm>
            <a:off x="353961" y="365125"/>
            <a:ext cx="11838036" cy="535531"/>
          </a:xfrm>
        </p:spPr>
        <p:txBody>
          <a:bodyPr>
            <a:normAutofit/>
          </a:bodyPr>
          <a:lstStyle/>
          <a:p>
            <a:pPr algn="l"/>
            <a:r>
              <a:rPr lang="en-BE"/>
              <a:t>Your Presenter</a:t>
            </a:r>
          </a:p>
        </p:txBody>
      </p:sp>
      <p:sp>
        <p:nvSpPr>
          <p:cNvPr id="13" name="Footer Placeholder 12">
            <a:extLst>
              <a:ext uri="{FF2B5EF4-FFF2-40B4-BE49-F238E27FC236}">
                <a16:creationId xmlns:a16="http://schemas.microsoft.com/office/drawing/2014/main" id="{95C5D31F-B517-A71B-523F-B34A153B7340}"/>
              </a:ext>
            </a:extLst>
          </p:cNvPr>
          <p:cNvSpPr>
            <a:spLocks noGrp="1"/>
          </p:cNvSpPr>
          <p:nvPr>
            <p:ph type="ftr" sz="quarter" idx="4294967295"/>
          </p:nvPr>
        </p:nvSpPr>
        <p:spPr>
          <a:xfrm>
            <a:off x="0" y="0"/>
            <a:ext cx="0" cy="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200" b="0" i="0" u="none" strike="noStrike" kern="1200" cap="none" spc="0" normalizeH="0" baseline="0" noProof="0">
                <a:ln>
                  <a:noFill/>
                </a:ln>
                <a:solidFill>
                  <a:srgbClr val="74009B"/>
                </a:solidFill>
                <a:effectLst/>
                <a:uLnTx/>
                <a:uFillTx/>
                <a:latin typeface="Calibri" panose="020F0502020204030204"/>
                <a:ea typeface="+mn-ea"/>
                <a:cs typeface="+mn-cs"/>
              </a:rPr>
              <a:t> </a:t>
            </a:r>
          </a:p>
        </p:txBody>
      </p:sp>
      <p:sp>
        <p:nvSpPr>
          <p:cNvPr id="18" name="TextBox 17"/>
          <p:cNvSpPr txBox="1"/>
          <p:nvPr/>
        </p:nvSpPr>
        <p:spPr>
          <a:xfrm>
            <a:off x="3536677" y="1158006"/>
            <a:ext cx="9700352" cy="47705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Regional leader FBLA Data &amp; Analytics and A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err="1">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CoE</a:t>
            </a:r>
            <a:r>
              <a:rPr kumimoji="0" lang="en-US"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 leader for Data Governance</a:t>
            </a:r>
            <a:br>
              <a:rPr kumimoji="0" lang="en-US"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br>
            <a:r>
              <a:rPr kumimoji="0" lang="en-US"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Practice leader Belgium</a:t>
            </a:r>
          </a:p>
          <a:p>
            <a:pPr marL="0" marR="0" lvl="0" indent="0" algn="l" defTabSz="914400" rtl="0" eaLnBrk="1" fontAlgn="auto" latinLnBrk="0" hangingPunct="1">
              <a:lnSpc>
                <a:spcPct val="100000"/>
              </a:lnSpc>
              <a:spcBef>
                <a:spcPts val="0"/>
              </a:spcBef>
              <a:spcAft>
                <a:spcPts val="0"/>
              </a:spcAft>
              <a:buClr>
                <a:srgbClr val="6C03A8"/>
              </a:buClr>
              <a:buSzTx/>
              <a:buFontTx/>
              <a:buNone/>
              <a:tabLst/>
              <a:defRPr/>
            </a:pPr>
            <a:endParaRPr kumimoji="0" lang="en-US" sz="1600"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285750" marR="0" lvl="0" indent="-285750" algn="l" defTabSz="914400" rtl="0" eaLnBrk="1" fontAlgn="auto" latinLnBrk="0" hangingPunct="1">
              <a:lnSpc>
                <a:spcPct val="100000"/>
              </a:lnSpc>
              <a:spcBef>
                <a:spcPts val="0"/>
              </a:spcBef>
              <a:spcAft>
                <a:spcPts val="0"/>
              </a:spcAft>
              <a:buClr>
                <a:srgbClr val="6C03A8"/>
              </a:buClr>
              <a:buSzTx/>
              <a:buFont typeface="Courier New" panose="02070309020205020404" pitchFamily="49" charset="0"/>
              <a:buChar char="o"/>
              <a:tabLst/>
              <a:defRPr/>
            </a:pPr>
            <a:r>
              <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Governance and Data Strategy</a:t>
            </a:r>
          </a:p>
          <a:p>
            <a:pPr marL="285750" marR="0" lvl="0" indent="-285750" algn="l" defTabSz="914400" rtl="0" eaLnBrk="1" fontAlgn="auto" latinLnBrk="0" hangingPunct="1">
              <a:lnSpc>
                <a:spcPct val="100000"/>
              </a:lnSpc>
              <a:spcBef>
                <a:spcPts val="0"/>
              </a:spcBef>
              <a:spcAft>
                <a:spcPts val="0"/>
              </a:spcAft>
              <a:buClr>
                <a:srgbClr val="6C03A8"/>
              </a:buClr>
              <a:buSzTx/>
              <a:buFont typeface="Courier New" panose="02070309020205020404" pitchFamily="49" charset="0"/>
              <a:buChar char="o"/>
              <a:tabLst/>
              <a:defRPr/>
            </a:pPr>
            <a:r>
              <a:rPr lang="en-US" dirty="0">
                <a:gradFill>
                  <a:gsLst>
                    <a:gs pos="0">
                      <a:schemeClr val="bg1"/>
                    </a:gs>
                    <a:gs pos="100000">
                      <a:schemeClr val="accent1">
                        <a:lumMod val="57119"/>
                        <a:lumOff val="42881"/>
                      </a:schemeClr>
                    </a:gs>
                  </a:gsLst>
                  <a:lin ang="10800000" scaled="1"/>
                </a:gradFill>
                <a:latin typeface="Open Sans Light" panose="020B0306030504020204" pitchFamily="34" charset="0"/>
                <a:ea typeface="Open Sans Light" panose="020B0306030504020204" pitchFamily="34" charset="0"/>
                <a:cs typeface="Open Sans Light" panose="020B0306030504020204" pitchFamily="34" charset="0"/>
              </a:rPr>
              <a:t>AI</a:t>
            </a:r>
            <a:endPar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285750" marR="0" lvl="0" indent="-285750" algn="l" defTabSz="914400" rtl="0" eaLnBrk="1" fontAlgn="auto" latinLnBrk="0" hangingPunct="1">
              <a:lnSpc>
                <a:spcPct val="100000"/>
              </a:lnSpc>
              <a:spcBef>
                <a:spcPts val="0"/>
              </a:spcBef>
              <a:spcAft>
                <a:spcPts val="0"/>
              </a:spcAft>
              <a:buClr>
                <a:srgbClr val="6C03A8"/>
              </a:buClr>
              <a:buSzTx/>
              <a:buFont typeface="Courier New" panose="02070309020205020404" pitchFamily="49" charset="0"/>
              <a:buChar char="o"/>
              <a:tabLst/>
              <a:defRPr/>
            </a:pPr>
            <a:r>
              <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Architecture And Strategy</a:t>
            </a:r>
          </a:p>
          <a:p>
            <a:pPr marL="285750" marR="0" lvl="0" indent="-285750" algn="l" defTabSz="914400" rtl="0" eaLnBrk="1" fontAlgn="auto" latinLnBrk="0" hangingPunct="1">
              <a:lnSpc>
                <a:spcPct val="100000"/>
              </a:lnSpc>
              <a:spcBef>
                <a:spcPts val="0"/>
              </a:spcBef>
              <a:spcAft>
                <a:spcPts val="0"/>
              </a:spcAft>
              <a:buClr>
                <a:srgbClr val="6C03A8"/>
              </a:buClr>
              <a:buSzTx/>
              <a:buFont typeface="Courier New" panose="02070309020205020404" pitchFamily="49" charset="0"/>
              <a:buChar char="o"/>
              <a:tabLst/>
              <a:defRPr/>
            </a:pPr>
            <a:r>
              <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Data Quality</a:t>
            </a:r>
          </a:p>
          <a:p>
            <a:pPr marL="285750" marR="0" lvl="0" indent="-285750" algn="l" defTabSz="914400" rtl="0" eaLnBrk="1" fontAlgn="auto" latinLnBrk="0" hangingPunct="1">
              <a:lnSpc>
                <a:spcPct val="100000"/>
              </a:lnSpc>
              <a:spcBef>
                <a:spcPts val="0"/>
              </a:spcBef>
              <a:spcAft>
                <a:spcPts val="0"/>
              </a:spcAft>
              <a:buClr>
                <a:srgbClr val="6C03A8"/>
              </a:buClr>
              <a:buSzTx/>
              <a:buFont typeface="Courier New" panose="02070309020205020404" pitchFamily="49" charset="0"/>
              <a:buChar char="o"/>
              <a:tabLst/>
              <a:defRPr/>
            </a:pPr>
            <a:r>
              <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Business Intelligence and Analytics</a:t>
            </a:r>
          </a:p>
          <a:p>
            <a:pPr marL="285750" marR="0" lvl="0" indent="-285750" algn="l" defTabSz="914400" rtl="0" eaLnBrk="1" fontAlgn="auto" latinLnBrk="0" hangingPunct="1">
              <a:lnSpc>
                <a:spcPct val="100000"/>
              </a:lnSpc>
              <a:spcBef>
                <a:spcPts val="0"/>
              </a:spcBef>
              <a:spcAft>
                <a:spcPts val="0"/>
              </a:spcAft>
              <a:buClr>
                <a:srgbClr val="6C03A8"/>
              </a:buClr>
              <a:buSzTx/>
              <a:buFont typeface="Courier New" panose="02070309020205020404" pitchFamily="49" charset="0"/>
              <a:buChar char="o"/>
              <a:tabLst/>
              <a:defRPr/>
            </a:pPr>
            <a:r>
              <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Master- And Reference Data Management </a:t>
            </a:r>
          </a:p>
          <a:p>
            <a:pPr marL="0" marR="0" lvl="0" indent="0" algn="l" defTabSz="914400" rtl="0" eaLnBrk="1" fontAlgn="auto" latinLnBrk="0" hangingPunct="1">
              <a:lnSpc>
                <a:spcPct val="100000"/>
              </a:lnSpc>
              <a:spcBef>
                <a:spcPts val="0"/>
              </a:spcBef>
              <a:spcAft>
                <a:spcPts val="0"/>
              </a:spcAft>
              <a:buClr>
                <a:srgbClr val="1F7A99"/>
              </a:buClr>
              <a:buSzTx/>
              <a:buFontTx/>
              <a:buNone/>
              <a:tabLst/>
              <a:defRPr/>
            </a:pPr>
            <a:endParaRPr kumimoji="0" lang="en-US"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
                <a:srgbClr val="1F7A99"/>
              </a:buClr>
              <a:buSzTx/>
              <a:buFontTx/>
              <a:buNone/>
              <a:tabLst/>
              <a:defRPr/>
            </a:pPr>
            <a:r>
              <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Seminars and workshops</a:t>
            </a:r>
          </a:p>
          <a:p>
            <a:pPr lvl="0">
              <a:buClr>
                <a:srgbClr val="1F7A99"/>
              </a:buClr>
              <a:defRPr/>
            </a:pPr>
            <a:r>
              <a:rPr lang="en-US" dirty="0">
                <a:gradFill>
                  <a:gsLst>
                    <a:gs pos="0">
                      <a:schemeClr val="bg1"/>
                    </a:gs>
                    <a:gs pos="100000">
                      <a:schemeClr val="accent1">
                        <a:lumMod val="57119"/>
                        <a:lumOff val="42881"/>
                      </a:schemeClr>
                    </a:gs>
                  </a:gsLst>
                  <a:lin ang="10800000" scaled="1"/>
                </a:gradFill>
                <a:latin typeface="Open Sans Light" panose="020B0306030504020204" pitchFamily="34" charset="0"/>
                <a:ea typeface="Open Sans Light" panose="020B0306030504020204" pitchFamily="34" charset="0"/>
                <a:cs typeface="Open Sans Light" panose="020B0306030504020204" pitchFamily="34" charset="0"/>
              </a:rPr>
              <a:t>IRMUK, SAI</a:t>
            </a:r>
            <a:r>
              <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 Adept Events, IT Works</a:t>
            </a:r>
          </a:p>
          <a:p>
            <a:pPr marL="0" marR="0" lvl="0" indent="0" algn="l" defTabSz="914400" rtl="0" eaLnBrk="1" fontAlgn="auto" latinLnBrk="0" hangingPunct="1">
              <a:lnSpc>
                <a:spcPct val="100000"/>
              </a:lnSpc>
              <a:spcBef>
                <a:spcPts val="0"/>
              </a:spcBef>
              <a:spcAft>
                <a:spcPts val="0"/>
              </a:spcAft>
              <a:buClr>
                <a:srgbClr val="1F7A99"/>
              </a:buClr>
              <a:buSzTx/>
              <a:buFontTx/>
              <a:buNone/>
              <a:tabLst/>
              <a:defRPr/>
            </a:pPr>
            <a:endParaRPr kumimoji="0" lang="en-US" b="0"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100000"/>
              </a:lnSpc>
              <a:spcBef>
                <a:spcPts val="0"/>
              </a:spcBef>
              <a:spcAft>
                <a:spcPts val="0"/>
              </a:spcAft>
              <a:buClr>
                <a:srgbClr val="1F7A99"/>
              </a:buClr>
              <a:buSzTx/>
              <a:buFontTx/>
              <a:buNone/>
              <a:tabLst/>
              <a:defRPr/>
            </a:pPr>
            <a:r>
              <a:rPr kumimoji="0" lang="en-US"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Involvement in non-profit initiatives</a:t>
            </a:r>
          </a:p>
          <a:p>
            <a:pPr marL="285750" marR="0" lvl="0" indent="-285750" algn="l" defTabSz="914400" rtl="0" eaLnBrk="1" fontAlgn="auto" latinLnBrk="0" hangingPunct="1">
              <a:lnSpc>
                <a:spcPct val="100000"/>
              </a:lnSpc>
              <a:spcBef>
                <a:spcPts val="0"/>
              </a:spcBef>
              <a:spcAft>
                <a:spcPts val="0"/>
              </a:spcAft>
              <a:buClr>
                <a:srgbClr val="2F9BB5"/>
              </a:buClr>
              <a:buSzTx/>
              <a:buFont typeface="Courier New" panose="02070309020205020404" pitchFamily="49" charset="0"/>
              <a:buChar char="o"/>
              <a:tabLst/>
              <a:defRPr/>
            </a:pPr>
            <a:r>
              <a:rPr kumimoji="0" lang="en-US"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Past International Board member DAMA</a:t>
            </a:r>
          </a:p>
          <a:p>
            <a:pPr marL="285750" marR="0" lvl="0" indent="-285750" algn="l" defTabSz="914400" rtl="0" eaLnBrk="1" fontAlgn="auto" latinLnBrk="0" hangingPunct="1">
              <a:lnSpc>
                <a:spcPct val="100000"/>
              </a:lnSpc>
              <a:spcBef>
                <a:spcPts val="0"/>
              </a:spcBef>
              <a:spcAft>
                <a:spcPts val="0"/>
              </a:spcAft>
              <a:buClr>
                <a:srgbClr val="2F9BB5"/>
              </a:buClr>
              <a:buSzTx/>
              <a:buFont typeface="Courier New" panose="02070309020205020404" pitchFamily="49" charset="0"/>
              <a:buChar char="o"/>
              <a:tabLst/>
              <a:defRPr/>
            </a:pPr>
            <a:r>
              <a:rPr kumimoji="0" lang="en-US"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rPr>
              <a:t>President of DAMA Belux Chapter</a:t>
            </a:r>
            <a:endParaRPr kumimoji="0" lang="en-US" sz="1600" b="1" i="0" u="none" strike="noStrike" kern="1200" cap="none" spc="0" normalizeH="0" baseline="0" noProof="0" dirty="0">
              <a:ln>
                <a:noFill/>
              </a:ln>
              <a:gradFill>
                <a:gsLst>
                  <a:gs pos="0">
                    <a:schemeClr val="bg1"/>
                  </a:gs>
                  <a:gs pos="100000">
                    <a:schemeClr val="accent1">
                      <a:lumMod val="57119"/>
                      <a:lumOff val="42881"/>
                    </a:schemeClr>
                  </a:gs>
                </a:gsLst>
                <a:lin ang="10800000" scaled="1"/>
              </a:gra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 name="Group 1">
            <a:extLst>
              <a:ext uri="{FF2B5EF4-FFF2-40B4-BE49-F238E27FC236}">
                <a16:creationId xmlns:a16="http://schemas.microsoft.com/office/drawing/2014/main" id="{8A92D412-BF27-5F14-2196-086357081631}"/>
              </a:ext>
            </a:extLst>
          </p:cNvPr>
          <p:cNvGrpSpPr/>
          <p:nvPr/>
        </p:nvGrpSpPr>
        <p:grpSpPr>
          <a:xfrm>
            <a:off x="625774" y="1182231"/>
            <a:ext cx="2812303" cy="3901456"/>
            <a:chOff x="2132258" y="1948567"/>
            <a:chExt cx="2812303" cy="3901456"/>
          </a:xfrm>
        </p:grpSpPr>
        <p:sp>
          <p:nvSpPr>
            <p:cNvPr id="23" name="TextBox 22"/>
            <p:cNvSpPr txBox="1"/>
            <p:nvPr/>
          </p:nvSpPr>
          <p:spPr>
            <a:xfrm>
              <a:off x="2132258" y="4280213"/>
              <a:ext cx="2232477" cy="635338"/>
            </a:xfrm>
            <a:prstGeom prst="rect">
              <a:avLst/>
            </a:prstGeom>
          </p:spPr>
          <p:txBody>
            <a:bodyPr wrap="square">
              <a:normAutofit fontScale="47500" lnSpcReduction="20000"/>
            </a:bodyPr>
            <a:lstStyle>
              <a:lvl1pPr>
                <a:lnSpc>
                  <a:spcPct val="90000"/>
                </a:lnSpc>
                <a:spcBef>
                  <a:spcPct val="0"/>
                </a:spcBef>
                <a:buNone/>
                <a:defRPr lang="en-BE" sz="3200">
                  <a:gradFill flip="none" rotWithShape="1">
                    <a:gsLst>
                      <a:gs pos="0">
                        <a:schemeClr val="bg1"/>
                      </a:gs>
                      <a:gs pos="100000">
                        <a:srgbClr val="0E8BAB"/>
                      </a:gs>
                    </a:gsLst>
                    <a:lin ang="10800000" scaled="1"/>
                    <a:tileRect/>
                  </a:gradFill>
                  <a:latin typeface="BearingPoint Sans L + C" pitchFamily="2" charset="77"/>
                </a:defRPr>
              </a:lvl1pPr>
            </a:lstStyle>
            <a:p>
              <a:pPr>
                <a:lnSpc>
                  <a:spcPct val="120000"/>
                </a:lnSpc>
              </a:pPr>
              <a:r>
                <a:rPr lang="en-BE">
                  <a:latin typeface="+mn-lt"/>
                </a:rPr>
                <a:t>J</a:t>
              </a:r>
              <a:r>
                <a:rPr lang="en-GB">
                  <a:latin typeface="+mn-lt"/>
                </a:rPr>
                <a:t>AN HENDERYCKX, </a:t>
              </a:r>
              <a:r>
                <a:rPr lang="en-US">
                  <a:latin typeface="+mn-lt"/>
                </a:rPr>
                <a:t>Partner, BearingPoint</a:t>
              </a:r>
            </a:p>
          </p:txBody>
        </p:sp>
        <p:grpSp>
          <p:nvGrpSpPr>
            <p:cNvPr id="38" name="Group 37"/>
            <p:cNvGrpSpPr/>
            <p:nvPr/>
          </p:nvGrpSpPr>
          <p:grpSpPr>
            <a:xfrm>
              <a:off x="2132258" y="5049245"/>
              <a:ext cx="2244073" cy="313986"/>
              <a:chOff x="1863801" y="4833332"/>
              <a:chExt cx="2244073" cy="313986"/>
            </a:xfrm>
          </p:grpSpPr>
          <p:grpSp>
            <p:nvGrpSpPr>
              <p:cNvPr id="34" name="Group 33"/>
              <p:cNvGrpSpPr/>
              <p:nvPr/>
            </p:nvGrpSpPr>
            <p:grpSpPr>
              <a:xfrm>
                <a:off x="1863801" y="4833332"/>
                <a:ext cx="313986" cy="313986"/>
                <a:chOff x="1827124" y="5514043"/>
                <a:chExt cx="604156" cy="604156"/>
              </a:xfrm>
            </p:grpSpPr>
            <p:sp>
              <p:nvSpPr>
                <p:cNvPr id="31" name="Oval 30"/>
                <p:cNvSpPr/>
                <p:nvPr/>
              </p:nvSpPr>
              <p:spPr>
                <a:xfrm>
                  <a:off x="1827124" y="5514043"/>
                  <a:ext cx="604156" cy="604156"/>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mj-lt"/>
                    <a:ea typeface="+mn-ea"/>
                    <a:cs typeface="+mn-cs"/>
                  </a:endParaRPr>
                </a:p>
              </p:txBody>
            </p:sp>
            <p:pic>
              <p:nvPicPr>
                <p:cNvPr id="32" name="Picture 3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76394" y="5685614"/>
                  <a:ext cx="321921" cy="259683"/>
                </a:xfrm>
                <a:prstGeom prst="rect">
                  <a:avLst/>
                </a:prstGeom>
                <a:noFill/>
              </p:spPr>
            </p:pic>
          </p:grpSp>
          <p:sp>
            <p:nvSpPr>
              <p:cNvPr id="33" name="TextBox 32"/>
              <p:cNvSpPr txBox="1"/>
              <p:nvPr/>
            </p:nvSpPr>
            <p:spPr>
              <a:xfrm>
                <a:off x="2297350" y="4851479"/>
                <a:ext cx="1810524" cy="295839"/>
              </a:xfrm>
              <a:prstGeom prst="rect">
                <a:avLst/>
              </a:prstGeom>
              <a:noFill/>
            </p:spPr>
            <p:txBody>
              <a:bodyPr wrap="square" lIns="72000" tIns="0" rIns="0" bIns="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all"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JanHenderyckx</a:t>
                </a:r>
                <a:r>
                  <a:rPr kumimoji="0" lang="en-US" sz="1200" b="0" i="0" u="none" strike="noStrike" kern="1200" cap="all"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 </a:t>
                </a:r>
              </a:p>
            </p:txBody>
          </p:sp>
        </p:grpSp>
        <p:grpSp>
          <p:nvGrpSpPr>
            <p:cNvPr id="5" name="Group 4"/>
            <p:cNvGrpSpPr/>
            <p:nvPr/>
          </p:nvGrpSpPr>
          <p:grpSpPr>
            <a:xfrm>
              <a:off x="2132265" y="5515072"/>
              <a:ext cx="2812296" cy="334951"/>
              <a:chOff x="9096792" y="5370243"/>
              <a:chExt cx="5072579" cy="604156"/>
            </a:xfrm>
          </p:grpSpPr>
          <p:sp>
            <p:nvSpPr>
              <p:cNvPr id="30" name="Oval 29"/>
              <p:cNvSpPr/>
              <p:nvPr/>
            </p:nvSpPr>
            <p:spPr>
              <a:xfrm>
                <a:off x="9096792" y="5370243"/>
                <a:ext cx="604156" cy="604156"/>
              </a:xfrm>
              <a:prstGeom prst="ellipse">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chemeClr val="bg1"/>
                  </a:solidFill>
                  <a:effectLst/>
                  <a:uLnTx/>
                  <a:uFillTx/>
                  <a:latin typeface="+mj-lt"/>
                  <a:ea typeface="+mn-ea"/>
                  <a:cs typeface="+mn-cs"/>
                </a:endParaRPr>
              </a:p>
            </p:txBody>
          </p:sp>
          <p:sp>
            <p:nvSpPr>
              <p:cNvPr id="35" name="TextBox 34"/>
              <p:cNvSpPr txBox="1"/>
              <p:nvPr/>
            </p:nvSpPr>
            <p:spPr>
              <a:xfrm>
                <a:off x="9878794" y="5434210"/>
                <a:ext cx="4290577" cy="471870"/>
              </a:xfrm>
              <a:prstGeom prst="rect">
                <a:avLst/>
              </a:prstGeom>
              <a:noFill/>
            </p:spPr>
            <p:txBody>
              <a:bodyPr wrap="square" rtlCol="0">
                <a:spAutoFit/>
              </a:bodyPr>
              <a:lstStyle>
                <a:defPPr>
                  <a:defRPr lang="en-US"/>
                </a:defPPr>
                <a:lvl1pPr>
                  <a:defRPr sz="12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rPr>
                  <a:t>JANHENDERYCKX</a:t>
                </a:r>
                <a:endParaRPr kumimoji="0" lang="en-US" sz="1100" b="0" i="0" u="none" strike="noStrike" kern="1200" cap="none" spc="0" normalizeH="0" baseline="0" noProof="0">
                  <a:ln>
                    <a:noFill/>
                  </a:ln>
                  <a:solidFill>
                    <a:schemeClr val="bg1"/>
                  </a:solidFill>
                  <a:effectLst/>
                  <a:uLnTx/>
                  <a:uFillTx/>
                  <a:latin typeface="+mj-lt"/>
                  <a:ea typeface="Open Sans" panose="020B0606030504020204" pitchFamily="34" charset="0"/>
                  <a:cs typeface="Open Sans" panose="020B0606030504020204" pitchFamily="34" charset="0"/>
                </a:endParaRPr>
              </a:p>
            </p:txBody>
          </p:sp>
          <p:pic>
            <p:nvPicPr>
              <p:cNvPr id="36" name="Picture 3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274637" y="5524397"/>
                <a:ext cx="265157" cy="253213"/>
              </a:xfrm>
              <a:prstGeom prst="rect">
                <a:avLst/>
              </a:prstGeom>
            </p:spPr>
          </p:pic>
        </p:grpSp>
        <p:pic>
          <p:nvPicPr>
            <p:cNvPr id="3" name="Picture 2" descr="A picture containing person, person, suit, wearing&#10;&#10;Description automatically generated">
              <a:extLst>
                <a:ext uri="{FF2B5EF4-FFF2-40B4-BE49-F238E27FC236}">
                  <a16:creationId xmlns:a16="http://schemas.microsoft.com/office/drawing/2014/main" id="{7247F97F-55F0-557F-1FAF-D916500C49FE}"/>
                </a:ext>
              </a:extLst>
            </p:cNvPr>
            <p:cNvPicPr>
              <a:picLocks noChangeAspect="1"/>
            </p:cNvPicPr>
            <p:nvPr/>
          </p:nvPicPr>
          <p:blipFill>
            <a:blip r:embed="rId5"/>
            <a:stretch>
              <a:fillRect/>
            </a:stretch>
          </p:blipFill>
          <p:spPr>
            <a:xfrm>
              <a:off x="2132258" y="1948567"/>
              <a:ext cx="1900030" cy="2222544"/>
            </a:xfrm>
            <a:prstGeom prst="rect">
              <a:avLst/>
            </a:prstGeom>
          </p:spPr>
        </p:pic>
      </p:grpSp>
    </p:spTree>
    <p:extLst>
      <p:ext uri="{BB962C8B-B14F-4D97-AF65-F5344CB8AC3E}">
        <p14:creationId xmlns:p14="http://schemas.microsoft.com/office/powerpoint/2010/main" val="28679967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A4CE73-4AD1-B959-E8B5-577CEB904178}"/>
              </a:ext>
            </a:extLst>
          </p:cNvPr>
          <p:cNvSpPr>
            <a:spLocks noGrp="1"/>
          </p:cNvSpPr>
          <p:nvPr>
            <p:ph type="title"/>
          </p:nvPr>
        </p:nvSpPr>
        <p:spPr>
          <a:xfrm>
            <a:off x="452438" y="411163"/>
            <a:ext cx="11739562" cy="1643527"/>
          </a:xfrm>
        </p:spPr>
        <p:txBody>
          <a:bodyPr/>
          <a:lstStyle/>
          <a:p>
            <a:r>
              <a:rPr lang="en-IE" dirty="0"/>
              <a:t>Data Quality</a:t>
            </a:r>
            <a:br>
              <a:rPr lang="en-IE" dirty="0"/>
            </a:br>
            <a:r>
              <a:rPr lang="en-IE" sz="2400" dirty="0"/>
              <a:t>What specific AI and machine learning quality dimensions should be observed?</a:t>
            </a:r>
            <a:br>
              <a:rPr lang="en-IE" sz="2400" dirty="0"/>
            </a:br>
            <a:endParaRPr lang="en-IE" dirty="0"/>
          </a:p>
        </p:txBody>
      </p:sp>
      <p:sp>
        <p:nvSpPr>
          <p:cNvPr id="43" name="Content Placeholder 42">
            <a:extLst>
              <a:ext uri="{FF2B5EF4-FFF2-40B4-BE49-F238E27FC236}">
                <a16:creationId xmlns:a16="http://schemas.microsoft.com/office/drawing/2014/main" id="{20815FC8-52E5-E074-C6BC-978276070D05}"/>
              </a:ext>
            </a:extLst>
          </p:cNvPr>
          <p:cNvSpPr>
            <a:spLocks noGrp="1"/>
          </p:cNvSpPr>
          <p:nvPr>
            <p:ph idx="1"/>
          </p:nvPr>
        </p:nvSpPr>
        <p:spPr>
          <a:xfrm>
            <a:off x="990093" y="1665132"/>
            <a:ext cx="5022954" cy="4836196"/>
          </a:xfrm>
        </p:spPr>
        <p:txBody>
          <a:bodyPr/>
          <a:lstStyle/>
          <a:p>
            <a:pPr marL="0" indent="0">
              <a:buNone/>
            </a:pPr>
            <a:r>
              <a:rPr lang="en-IE" sz="1800" dirty="0"/>
              <a:t>RELEVANCY: The data should be relevant to the problem the AI model is trying to solve. Irrelevant data can introduce noise and negatively impact model performance.</a:t>
            </a:r>
            <a:br>
              <a:rPr lang="en-IE" sz="1800" dirty="0"/>
            </a:br>
            <a:endParaRPr lang="en-IE" sz="1800" dirty="0"/>
          </a:p>
          <a:p>
            <a:pPr marL="0" indent="0">
              <a:buNone/>
            </a:pPr>
            <a:r>
              <a:rPr lang="en-IE" sz="1800" dirty="0"/>
              <a:t>BALANCE: In classification problems, the dataset should ideally have a balanced representation of each class. Imbalanced data can lead to biased models that perform poorly on the underrepresented class.</a:t>
            </a:r>
            <a:br>
              <a:rPr lang="en-IE" sz="1800" dirty="0"/>
            </a:br>
            <a:endParaRPr lang="en-IE" sz="1800" dirty="0"/>
          </a:p>
          <a:p>
            <a:pPr marL="0" indent="0">
              <a:buNone/>
            </a:pPr>
            <a:r>
              <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rPr>
              <a:t>ABSENCE OF BIAS: The data should be free of biases to prevent the AI model from learning and perpetuating these biases. Biased data can lead to unfair or discriminatory outcomes.</a:t>
            </a:r>
            <a:br>
              <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rPr>
            </a:br>
            <a:endPar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endParaRPr>
          </a:p>
        </p:txBody>
      </p:sp>
      <p:grpSp>
        <p:nvGrpSpPr>
          <p:cNvPr id="34" name="Group 33">
            <a:extLst>
              <a:ext uri="{FF2B5EF4-FFF2-40B4-BE49-F238E27FC236}">
                <a16:creationId xmlns:a16="http://schemas.microsoft.com/office/drawing/2014/main" id="{8CF4920F-695D-8C93-4B18-DAF274ABE5A8}"/>
              </a:ext>
            </a:extLst>
          </p:cNvPr>
          <p:cNvGrpSpPr/>
          <p:nvPr/>
        </p:nvGrpSpPr>
        <p:grpSpPr>
          <a:xfrm>
            <a:off x="6305099" y="1644996"/>
            <a:ext cx="631017" cy="607868"/>
            <a:chOff x="5144195" y="-659937"/>
            <a:chExt cx="1076568" cy="1037073"/>
          </a:xfrm>
        </p:grpSpPr>
        <p:sp>
          <p:nvSpPr>
            <p:cNvPr id="30" name="Oval 29">
              <a:extLst>
                <a:ext uri="{FF2B5EF4-FFF2-40B4-BE49-F238E27FC236}">
                  <a16:creationId xmlns:a16="http://schemas.microsoft.com/office/drawing/2014/main" id="{55CA7F70-C1C4-0ADF-C9CA-BE560DE9FB38}"/>
                </a:ext>
              </a:extLst>
            </p:cNvPr>
            <p:cNvSpPr/>
            <p:nvPr/>
          </p:nvSpPr>
          <p:spPr>
            <a:xfrm>
              <a:off x="5144195" y="-659937"/>
              <a:ext cx="1076568" cy="1037073"/>
            </a:xfrm>
            <a:prstGeom prst="ellipse">
              <a:avLst/>
            </a:prstGeom>
            <a:solidFill>
              <a:schemeClr val="bg1"/>
            </a:solidFill>
            <a:ln w="7620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BE" sz="1400" b="0" i="0" u="none" strike="noStrike" kern="0" cap="none" spc="0" normalizeH="0" baseline="0" noProof="0" dirty="0">
                <a:ln>
                  <a:noFill/>
                </a:ln>
                <a:solidFill>
                  <a:srgbClr val="000000"/>
                </a:solidFill>
                <a:effectLst/>
                <a:uLnTx/>
                <a:uFillTx/>
                <a:latin typeface="Calibri"/>
                <a:ea typeface="+mn-ea"/>
                <a:cs typeface="+mn-cs"/>
              </a:endParaRPr>
            </a:p>
          </p:txBody>
        </p:sp>
        <p:pic>
          <p:nvPicPr>
            <p:cNvPr id="11" name="Picture 10" descr="A black puzzle pieces with a white background&#10;&#10;Description automatically generated">
              <a:extLst>
                <a:ext uri="{FF2B5EF4-FFF2-40B4-BE49-F238E27FC236}">
                  <a16:creationId xmlns:a16="http://schemas.microsoft.com/office/drawing/2014/main" id="{4311711A-0E6F-E52D-AA36-B1277E88584D}"/>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10000" b="90000" l="10000" r="90000">
                          <a14:foregroundMark x1="59161" y1="33220" x2="58258" y2="31998"/>
                        </a14:backgroundRemoval>
                      </a14:imgEffect>
                      <a14:imgEffect>
                        <a14:brightnessContrast bright="-100000" contrast="100000"/>
                      </a14:imgEffect>
                    </a14:imgLayer>
                  </a14:imgProps>
                </a:ext>
                <a:ext uri="{837473B0-CC2E-450A-ABE3-18F120FF3D39}">
                  <a1611:picAttrSrcUrl xmlns:a1611="http://schemas.microsoft.com/office/drawing/2016/11/main" r:id="rId4"/>
                </a:ext>
              </a:extLst>
            </a:blip>
            <a:stretch>
              <a:fillRect/>
            </a:stretch>
          </p:blipFill>
          <p:spPr>
            <a:xfrm>
              <a:off x="5331690" y="-501401"/>
              <a:ext cx="720000" cy="720000"/>
            </a:xfrm>
            <a:prstGeom prst="rect">
              <a:avLst/>
            </a:prstGeom>
            <a:noFill/>
            <a:effectLst>
              <a:outerShdw blurRad="25400" algn="ctr">
                <a:prstClr val="black"/>
              </a:outerShdw>
            </a:effectLst>
          </p:spPr>
        </p:pic>
      </p:grpSp>
      <p:grpSp>
        <p:nvGrpSpPr>
          <p:cNvPr id="35" name="Group 34">
            <a:extLst>
              <a:ext uri="{FF2B5EF4-FFF2-40B4-BE49-F238E27FC236}">
                <a16:creationId xmlns:a16="http://schemas.microsoft.com/office/drawing/2014/main" id="{A92D665C-D76E-DEC5-2A0C-B2CE67E6903F}"/>
              </a:ext>
            </a:extLst>
          </p:cNvPr>
          <p:cNvGrpSpPr/>
          <p:nvPr/>
        </p:nvGrpSpPr>
        <p:grpSpPr>
          <a:xfrm>
            <a:off x="6305868" y="3370767"/>
            <a:ext cx="631017" cy="607868"/>
            <a:chOff x="6377345" y="-659937"/>
            <a:chExt cx="1076568" cy="1037073"/>
          </a:xfrm>
        </p:grpSpPr>
        <p:sp>
          <p:nvSpPr>
            <p:cNvPr id="31" name="Oval 30">
              <a:extLst>
                <a:ext uri="{FF2B5EF4-FFF2-40B4-BE49-F238E27FC236}">
                  <a16:creationId xmlns:a16="http://schemas.microsoft.com/office/drawing/2014/main" id="{F5C5D237-80E9-91E8-478C-C1E538D0EBA0}"/>
                </a:ext>
              </a:extLst>
            </p:cNvPr>
            <p:cNvSpPr/>
            <p:nvPr/>
          </p:nvSpPr>
          <p:spPr>
            <a:xfrm>
              <a:off x="6377345" y="-659937"/>
              <a:ext cx="1076568" cy="1037073"/>
            </a:xfrm>
            <a:prstGeom prst="ellipse">
              <a:avLst/>
            </a:prstGeom>
            <a:solidFill>
              <a:schemeClr val="bg1"/>
            </a:solidFill>
            <a:ln w="7620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BE" sz="1400" b="0" i="0" u="none" strike="noStrike" kern="0" cap="none" spc="0" normalizeH="0" baseline="0" noProof="0" dirty="0">
                <a:ln>
                  <a:noFill/>
                </a:ln>
                <a:solidFill>
                  <a:srgbClr val="000000"/>
                </a:solidFill>
                <a:effectLst/>
                <a:uLnTx/>
                <a:uFillTx/>
                <a:latin typeface="Calibri"/>
                <a:ea typeface="+mn-ea"/>
                <a:cs typeface="+mn-cs"/>
              </a:endParaRPr>
            </a:p>
          </p:txBody>
        </p:sp>
        <p:pic>
          <p:nvPicPr>
            <p:cNvPr id="13" name="Picture 12" descr="A white arrow pointing to two different directions&#10;&#10;Description automatically generated">
              <a:extLst>
                <a:ext uri="{FF2B5EF4-FFF2-40B4-BE49-F238E27FC236}">
                  <a16:creationId xmlns:a16="http://schemas.microsoft.com/office/drawing/2014/main" id="{8F8E7DB4-AD7E-3963-DE7A-0234C4E3E008}"/>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Effect>
                        <a14:brightnessContrast bright="-100000" contrast="100000"/>
                      </a14:imgEffect>
                    </a14:imgLayer>
                  </a14:imgProps>
                </a:ext>
                <a:ext uri="{837473B0-CC2E-450A-ABE3-18F120FF3D39}">
                  <a1611:picAttrSrcUrl xmlns:a1611="http://schemas.microsoft.com/office/drawing/2016/11/main" r:id="rId7"/>
                </a:ext>
              </a:extLst>
            </a:blip>
            <a:stretch>
              <a:fillRect/>
            </a:stretch>
          </p:blipFill>
          <p:spPr>
            <a:xfrm>
              <a:off x="6463630" y="-501401"/>
              <a:ext cx="934514" cy="720000"/>
            </a:xfrm>
            <a:prstGeom prst="rect">
              <a:avLst/>
            </a:prstGeom>
          </p:spPr>
        </p:pic>
      </p:grpSp>
      <p:grpSp>
        <p:nvGrpSpPr>
          <p:cNvPr id="37" name="Group 36">
            <a:extLst>
              <a:ext uri="{FF2B5EF4-FFF2-40B4-BE49-F238E27FC236}">
                <a16:creationId xmlns:a16="http://schemas.microsoft.com/office/drawing/2014/main" id="{72EA4F24-E8DA-38B1-9530-39789E537B02}"/>
              </a:ext>
            </a:extLst>
          </p:cNvPr>
          <p:cNvGrpSpPr/>
          <p:nvPr/>
        </p:nvGrpSpPr>
        <p:grpSpPr>
          <a:xfrm>
            <a:off x="361039" y="4747180"/>
            <a:ext cx="631017" cy="607868"/>
            <a:chOff x="8997793" y="-659937"/>
            <a:chExt cx="1076568" cy="1037073"/>
          </a:xfrm>
        </p:grpSpPr>
        <p:sp>
          <p:nvSpPr>
            <p:cNvPr id="33" name="Oval 32">
              <a:extLst>
                <a:ext uri="{FF2B5EF4-FFF2-40B4-BE49-F238E27FC236}">
                  <a16:creationId xmlns:a16="http://schemas.microsoft.com/office/drawing/2014/main" id="{85849246-5460-E068-ADC6-DED33BF1C8B1}"/>
                </a:ext>
              </a:extLst>
            </p:cNvPr>
            <p:cNvSpPr/>
            <p:nvPr/>
          </p:nvSpPr>
          <p:spPr>
            <a:xfrm>
              <a:off x="8997793" y="-659937"/>
              <a:ext cx="1076568" cy="1037073"/>
            </a:xfrm>
            <a:prstGeom prst="ellipse">
              <a:avLst/>
            </a:prstGeom>
            <a:solidFill>
              <a:schemeClr val="bg1"/>
            </a:solidFill>
            <a:ln w="7620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BE" sz="1400" b="0" i="0" u="none" strike="noStrike" kern="0" cap="none" spc="0" normalizeH="0" baseline="0" noProof="0" dirty="0">
                <a:ln>
                  <a:noFill/>
                </a:ln>
                <a:solidFill>
                  <a:srgbClr val="000000"/>
                </a:solidFill>
                <a:effectLst/>
                <a:uLnTx/>
                <a:uFillTx/>
                <a:latin typeface="Calibri"/>
                <a:ea typeface="+mn-ea"/>
                <a:cs typeface="+mn-cs"/>
              </a:endParaRPr>
            </a:p>
          </p:txBody>
        </p:sp>
        <p:pic>
          <p:nvPicPr>
            <p:cNvPr id="15" name="Picture 14" descr="A two people standing on a pole&#10;&#10;Description automatically generated">
              <a:extLst>
                <a:ext uri="{FF2B5EF4-FFF2-40B4-BE49-F238E27FC236}">
                  <a16:creationId xmlns:a16="http://schemas.microsoft.com/office/drawing/2014/main" id="{0685229A-61B2-BF42-8FB9-26FC0B42A05A}"/>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52000" contrast="-38000"/>
                      </a14:imgEffect>
                    </a14:imgLayer>
                  </a14:imgProps>
                </a:ext>
                <a:ext uri="{837473B0-CC2E-450A-ABE3-18F120FF3D39}">
                  <a1611:picAttrSrcUrl xmlns:a1611="http://schemas.microsoft.com/office/drawing/2016/11/main" r:id="rId10"/>
                </a:ext>
              </a:extLst>
            </a:blip>
            <a:stretch>
              <a:fillRect/>
            </a:stretch>
          </p:blipFill>
          <p:spPr>
            <a:xfrm>
              <a:off x="9175049" y="-501401"/>
              <a:ext cx="720000" cy="720000"/>
            </a:xfrm>
            <a:prstGeom prst="rect">
              <a:avLst/>
            </a:prstGeom>
          </p:spPr>
        </p:pic>
      </p:grpSp>
      <p:grpSp>
        <p:nvGrpSpPr>
          <p:cNvPr id="36" name="Group 35">
            <a:extLst>
              <a:ext uri="{FF2B5EF4-FFF2-40B4-BE49-F238E27FC236}">
                <a16:creationId xmlns:a16="http://schemas.microsoft.com/office/drawing/2014/main" id="{158A333E-6424-1FD6-09E4-EB9D134DFCEC}"/>
              </a:ext>
            </a:extLst>
          </p:cNvPr>
          <p:cNvGrpSpPr/>
          <p:nvPr/>
        </p:nvGrpSpPr>
        <p:grpSpPr>
          <a:xfrm>
            <a:off x="6305867" y="4456780"/>
            <a:ext cx="631017" cy="607868"/>
            <a:chOff x="7688877" y="-659937"/>
            <a:chExt cx="1076568" cy="1037073"/>
          </a:xfrm>
        </p:grpSpPr>
        <p:sp>
          <p:nvSpPr>
            <p:cNvPr id="28" name="Oval 27">
              <a:extLst>
                <a:ext uri="{FF2B5EF4-FFF2-40B4-BE49-F238E27FC236}">
                  <a16:creationId xmlns:a16="http://schemas.microsoft.com/office/drawing/2014/main" id="{EEB9035E-59BC-95B5-A065-86845C61726A}"/>
                </a:ext>
              </a:extLst>
            </p:cNvPr>
            <p:cNvSpPr/>
            <p:nvPr/>
          </p:nvSpPr>
          <p:spPr>
            <a:xfrm>
              <a:off x="7688877" y="-659937"/>
              <a:ext cx="1076568" cy="1037073"/>
            </a:xfrm>
            <a:prstGeom prst="ellipse">
              <a:avLst/>
            </a:prstGeom>
            <a:solidFill>
              <a:schemeClr val="bg1"/>
            </a:solidFill>
            <a:ln w="7620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BE" sz="1400" b="0" i="0" u="none" strike="noStrike" kern="0" cap="none" spc="0" normalizeH="0" baseline="0" noProof="0" dirty="0">
                <a:ln>
                  <a:noFill/>
                </a:ln>
                <a:solidFill>
                  <a:srgbClr val="000000"/>
                </a:solidFill>
                <a:effectLst/>
                <a:uLnTx/>
                <a:uFillTx/>
                <a:latin typeface="Calibri"/>
                <a:ea typeface="+mn-ea"/>
                <a:cs typeface="+mn-cs"/>
              </a:endParaRPr>
            </a:p>
          </p:txBody>
        </p:sp>
        <p:pic>
          <p:nvPicPr>
            <p:cNvPr id="17" name="Picture 16" descr="A blue and black gears with arrows&#10;&#10;Description automatically generated">
              <a:extLst>
                <a:ext uri="{FF2B5EF4-FFF2-40B4-BE49-F238E27FC236}">
                  <a16:creationId xmlns:a16="http://schemas.microsoft.com/office/drawing/2014/main" id="{0EFC3B9F-88E5-E51E-4F13-F1557D3EAECE}"/>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Effect>
                        <a14:brightnessContrast bright="-18000" contrast="13000"/>
                      </a14:imgEffect>
                    </a14:imgLayer>
                  </a14:imgProps>
                </a:ext>
                <a:ext uri="{837473B0-CC2E-450A-ABE3-18F120FF3D39}">
                  <a1611:picAttrSrcUrl xmlns:a1611="http://schemas.microsoft.com/office/drawing/2016/11/main" r:id="rId13"/>
                </a:ext>
              </a:extLst>
            </a:blip>
            <a:stretch>
              <a:fillRect/>
            </a:stretch>
          </p:blipFill>
          <p:spPr>
            <a:xfrm>
              <a:off x="7873406" y="-501401"/>
              <a:ext cx="704894" cy="720000"/>
            </a:xfrm>
            <a:prstGeom prst="rect">
              <a:avLst/>
            </a:prstGeom>
          </p:spPr>
        </p:pic>
      </p:grpSp>
      <p:grpSp>
        <p:nvGrpSpPr>
          <p:cNvPr id="27" name="Group 26">
            <a:extLst>
              <a:ext uri="{FF2B5EF4-FFF2-40B4-BE49-F238E27FC236}">
                <a16:creationId xmlns:a16="http://schemas.microsoft.com/office/drawing/2014/main" id="{727BC031-6DA9-375A-6191-1EAEAFBB643D}"/>
              </a:ext>
            </a:extLst>
          </p:cNvPr>
          <p:cNvGrpSpPr/>
          <p:nvPr/>
        </p:nvGrpSpPr>
        <p:grpSpPr>
          <a:xfrm>
            <a:off x="353875" y="2959910"/>
            <a:ext cx="631017" cy="607868"/>
            <a:chOff x="7150593" y="1687887"/>
            <a:chExt cx="1076568" cy="1037073"/>
          </a:xfrm>
        </p:grpSpPr>
        <p:sp>
          <p:nvSpPr>
            <p:cNvPr id="26" name="Oval 25">
              <a:extLst>
                <a:ext uri="{FF2B5EF4-FFF2-40B4-BE49-F238E27FC236}">
                  <a16:creationId xmlns:a16="http://schemas.microsoft.com/office/drawing/2014/main" id="{C28A37CB-A0FC-A69D-AA3C-C8B176E85D4B}"/>
                </a:ext>
              </a:extLst>
            </p:cNvPr>
            <p:cNvSpPr/>
            <p:nvPr/>
          </p:nvSpPr>
          <p:spPr>
            <a:xfrm>
              <a:off x="7150593" y="1687887"/>
              <a:ext cx="1076568" cy="1037073"/>
            </a:xfrm>
            <a:prstGeom prst="ellipse">
              <a:avLst/>
            </a:prstGeom>
            <a:solidFill>
              <a:schemeClr val="bg1"/>
            </a:solidFill>
            <a:ln w="7620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BE" sz="1400" b="0" i="0" u="none" strike="noStrike" kern="0" cap="none" spc="0" normalizeH="0" baseline="0" noProof="0" dirty="0">
                <a:ln>
                  <a:noFill/>
                </a:ln>
                <a:solidFill>
                  <a:srgbClr val="000000"/>
                </a:solidFill>
                <a:effectLst/>
                <a:uLnTx/>
                <a:uFillTx/>
                <a:latin typeface="Calibri"/>
                <a:ea typeface="+mn-ea"/>
                <a:cs typeface="+mn-cs"/>
              </a:endParaRPr>
            </a:p>
          </p:txBody>
        </p:sp>
        <p:pic>
          <p:nvPicPr>
            <p:cNvPr id="25" name="Picture 24" descr="A black and white image of a scale&#10;&#10;Description automatically generated">
              <a:extLst>
                <a:ext uri="{FF2B5EF4-FFF2-40B4-BE49-F238E27FC236}">
                  <a16:creationId xmlns:a16="http://schemas.microsoft.com/office/drawing/2014/main" id="{FDD0867C-BCC6-8B22-EDFD-1CF96AE1B188}"/>
                </a:ext>
              </a:extLst>
            </p:cNvPr>
            <p:cNvPicPr>
              <a:picLocks noChangeAspect="1"/>
            </p:cNvPicPr>
            <p:nvPr/>
          </p:nvPicPr>
          <p:blipFill>
            <a:blip r:embed="rId14">
              <a:duotone>
                <a:prstClr val="black"/>
                <a:schemeClr val="tx1">
                  <a:tint val="45000"/>
                  <a:satMod val="400000"/>
                </a:schemeClr>
              </a:duotone>
              <a:extLst>
                <a:ext uri="{BEBA8EAE-BF5A-486C-A8C5-ECC9F3942E4B}">
                  <a14:imgProps xmlns:a14="http://schemas.microsoft.com/office/drawing/2010/main">
                    <a14:imgLayer r:embed="rId15">
                      <a14:imgEffect>
                        <a14:brightnessContrast bright="-99000"/>
                      </a14:imgEffect>
                    </a14:imgLayer>
                  </a14:imgProps>
                </a:ext>
              </a:extLst>
            </a:blip>
            <a:stretch>
              <a:fillRect/>
            </a:stretch>
          </p:blipFill>
          <p:spPr>
            <a:xfrm>
              <a:off x="7320406" y="1846423"/>
              <a:ext cx="736942" cy="720000"/>
            </a:xfrm>
            <a:prstGeom prst="rect">
              <a:avLst/>
            </a:prstGeom>
          </p:spPr>
        </p:pic>
      </p:grpSp>
      <p:grpSp>
        <p:nvGrpSpPr>
          <p:cNvPr id="45" name="Group 44">
            <a:extLst>
              <a:ext uri="{FF2B5EF4-FFF2-40B4-BE49-F238E27FC236}">
                <a16:creationId xmlns:a16="http://schemas.microsoft.com/office/drawing/2014/main" id="{846D826F-A0CE-B4C9-81BA-A1F71360230C}"/>
              </a:ext>
            </a:extLst>
          </p:cNvPr>
          <p:cNvGrpSpPr/>
          <p:nvPr/>
        </p:nvGrpSpPr>
        <p:grpSpPr>
          <a:xfrm>
            <a:off x="356608" y="1597998"/>
            <a:ext cx="631017" cy="607868"/>
            <a:chOff x="3911045" y="-659937"/>
            <a:chExt cx="1076568" cy="1037073"/>
          </a:xfrm>
        </p:grpSpPr>
        <p:sp>
          <p:nvSpPr>
            <p:cNvPr id="29" name="Oval 28">
              <a:extLst>
                <a:ext uri="{FF2B5EF4-FFF2-40B4-BE49-F238E27FC236}">
                  <a16:creationId xmlns:a16="http://schemas.microsoft.com/office/drawing/2014/main" id="{4F453B6B-484F-E0B7-87D7-282B68DA614B}"/>
                </a:ext>
              </a:extLst>
            </p:cNvPr>
            <p:cNvSpPr/>
            <p:nvPr/>
          </p:nvSpPr>
          <p:spPr>
            <a:xfrm>
              <a:off x="3911045" y="-659937"/>
              <a:ext cx="1076568" cy="1037073"/>
            </a:xfrm>
            <a:prstGeom prst="ellipse">
              <a:avLst/>
            </a:prstGeom>
            <a:solidFill>
              <a:schemeClr val="bg1"/>
            </a:solidFill>
            <a:ln w="76200" cap="flat"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BE" sz="1400" b="0" i="0" u="none" strike="noStrike" kern="0" cap="none" spc="0" normalizeH="0" baseline="0" noProof="0" dirty="0">
                <a:ln>
                  <a:noFill/>
                </a:ln>
                <a:solidFill>
                  <a:srgbClr val="000000"/>
                </a:solidFill>
                <a:effectLst/>
                <a:uLnTx/>
                <a:uFillTx/>
                <a:latin typeface="Calibri"/>
                <a:ea typeface="+mn-ea"/>
                <a:cs typeface="+mn-cs"/>
              </a:endParaRPr>
            </a:p>
          </p:txBody>
        </p:sp>
        <p:pic>
          <p:nvPicPr>
            <p:cNvPr id="44" name="Content Placeholder 20" descr="A black and white image of a target with a arrow in the center&#10;&#10;Description automatically generated">
              <a:extLst>
                <a:ext uri="{FF2B5EF4-FFF2-40B4-BE49-F238E27FC236}">
                  <a16:creationId xmlns:a16="http://schemas.microsoft.com/office/drawing/2014/main" id="{1C7A4465-EAFF-34F2-D6BF-3443E57265E6}"/>
                </a:ext>
              </a:extLst>
            </p:cNvPr>
            <p:cNvPicPr>
              <a:picLocks noChangeAspect="1"/>
            </p:cNvPicPr>
            <p:nvPr/>
          </p:nvPicPr>
          <p:blipFill>
            <a:blip r:embed="rId16">
              <a:duotone>
                <a:prstClr val="black"/>
                <a:schemeClr val="bg1">
                  <a:tint val="45000"/>
                  <a:satMod val="400000"/>
                </a:schemeClr>
              </a:duotone>
              <a:extLst>
                <a:ext uri="{BEBA8EAE-BF5A-486C-A8C5-ECC9F3942E4B}">
                  <a14:imgProps xmlns:a14="http://schemas.microsoft.com/office/drawing/2010/main">
                    <a14:imgLayer r:embed="rId17">
                      <a14:imgEffect>
                        <a14:sharpenSoften amount="100000"/>
                      </a14:imgEffect>
                      <a14:imgEffect>
                        <a14:brightnessContrast bright="-100000" contrast="100000"/>
                      </a14:imgEffect>
                    </a14:imgLayer>
                  </a14:imgProps>
                </a:ext>
              </a:extLst>
            </a:blip>
            <a:stretch>
              <a:fillRect/>
            </a:stretch>
          </p:blipFill>
          <p:spPr>
            <a:xfrm>
              <a:off x="4069981" y="-573401"/>
              <a:ext cx="864000" cy="864000"/>
            </a:xfrm>
            <a:prstGeom prst="rect">
              <a:avLst/>
            </a:prstGeom>
          </p:spPr>
        </p:pic>
      </p:grpSp>
      <p:sp>
        <p:nvSpPr>
          <p:cNvPr id="4" name="TextBox 3">
            <a:extLst>
              <a:ext uri="{FF2B5EF4-FFF2-40B4-BE49-F238E27FC236}">
                <a16:creationId xmlns:a16="http://schemas.microsoft.com/office/drawing/2014/main" id="{A50472C5-8171-1CDF-3CA4-B7AE6B8EE10D}"/>
              </a:ext>
            </a:extLst>
          </p:cNvPr>
          <p:cNvSpPr txBox="1"/>
          <p:nvPr/>
        </p:nvSpPr>
        <p:spPr>
          <a:xfrm>
            <a:off x="6945081" y="1734030"/>
            <a:ext cx="5246919" cy="3967240"/>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rPr>
              <a:t>REPRESENTATIVENESS: The data should be representative of the real-world scenarios where the AI model will be applied. If the training data is not representative, the model may not generalize well to unseen data.</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rPr>
              <a:t>VARIABILITY: The data should cover a wide range of scenarios and edge cases to ensure the model can handle a variety of inputs.</a:t>
            </a:r>
            <a:br>
              <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rPr>
            </a:br>
            <a:endPar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IE" sz="1800" b="0" i="0" u="none" strike="noStrike" kern="1200" cap="none" spc="0" normalizeH="0" baseline="0" noProof="0" dirty="0">
                <a:ln>
                  <a:noFill/>
                </a:ln>
                <a:gradFill>
                  <a:gsLst>
                    <a:gs pos="0">
                      <a:prstClr val="white"/>
                    </a:gs>
                    <a:gs pos="100000">
                      <a:srgbClr val="0E8BAB">
                        <a:lumMod val="30000"/>
                        <a:lumOff val="70000"/>
                      </a:srgbClr>
                    </a:gs>
                  </a:gsLst>
                  <a:lin ang="0" scaled="1"/>
                </a:gradFill>
                <a:effectLst/>
                <a:uLnTx/>
                <a:uFillTx/>
                <a:latin typeface="BearingPoint Sans L + C" pitchFamily="2" charset="77"/>
                <a:ea typeface="+mn-ea"/>
                <a:cs typeface="+mn-cs"/>
              </a:rPr>
              <a:t>FEATURE QUALITY: The features or variables used in the model should be well-engineered, informative, and have minimal multicollinearity.</a:t>
            </a:r>
          </a:p>
        </p:txBody>
      </p:sp>
    </p:spTree>
    <p:extLst>
      <p:ext uri="{BB962C8B-B14F-4D97-AF65-F5344CB8AC3E}">
        <p14:creationId xmlns:p14="http://schemas.microsoft.com/office/powerpoint/2010/main" val="17940005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063DA-F1E5-3B4C-84D2-F654D95F5F4B}"/>
              </a:ext>
            </a:extLst>
          </p:cNvPr>
          <p:cNvSpPr>
            <a:spLocks noGrp="1"/>
          </p:cNvSpPr>
          <p:nvPr>
            <p:ph type="title"/>
          </p:nvPr>
        </p:nvSpPr>
        <p:spPr>
          <a:xfrm>
            <a:off x="452581" y="411307"/>
            <a:ext cx="11321441" cy="535531"/>
          </a:xfrm>
        </p:spPr>
        <p:txBody>
          <a:bodyPr/>
          <a:lstStyle/>
          <a:p>
            <a:r>
              <a:rPr lang="en-IE" dirty="0"/>
              <a:t>Towards a mature AI Governance Framework</a:t>
            </a:r>
            <a:br>
              <a:rPr lang="en-IE" dirty="0"/>
            </a:br>
            <a:r>
              <a:rPr lang="en-IE" dirty="0"/>
              <a:t>AI Observability</a:t>
            </a:r>
          </a:p>
        </p:txBody>
      </p:sp>
      <p:sp>
        <p:nvSpPr>
          <p:cNvPr id="3" name="Content Placeholder 2">
            <a:extLst>
              <a:ext uri="{FF2B5EF4-FFF2-40B4-BE49-F238E27FC236}">
                <a16:creationId xmlns:a16="http://schemas.microsoft.com/office/drawing/2014/main" id="{C8341B59-D1CF-41D6-D3F5-97DF86575710}"/>
              </a:ext>
            </a:extLst>
          </p:cNvPr>
          <p:cNvSpPr>
            <a:spLocks noGrp="1"/>
          </p:cNvSpPr>
          <p:nvPr>
            <p:ph idx="1"/>
          </p:nvPr>
        </p:nvSpPr>
        <p:spPr>
          <a:xfrm>
            <a:off x="655638" y="1683279"/>
            <a:ext cx="7269161" cy="2608406"/>
          </a:xfrm>
        </p:spPr>
        <p:txBody>
          <a:bodyPr/>
          <a:lstStyle/>
          <a:p>
            <a:pPr marL="0" indent="0">
              <a:buNone/>
            </a:pPr>
            <a:r>
              <a:rPr lang="en-IE" dirty="0"/>
              <a:t>A comprehensive AI Governance Framework covers both: </a:t>
            </a:r>
          </a:p>
          <a:p>
            <a:r>
              <a:rPr lang="en-IE" dirty="0"/>
              <a:t>The static metadata</a:t>
            </a:r>
          </a:p>
          <a:p>
            <a:pPr lvl="1"/>
            <a:r>
              <a:rPr lang="en-IE" dirty="0"/>
              <a:t>Use case description</a:t>
            </a:r>
          </a:p>
          <a:p>
            <a:pPr lvl="1"/>
            <a:r>
              <a:rPr lang="en-IE" dirty="0"/>
              <a:t>Model documentation </a:t>
            </a:r>
          </a:p>
          <a:p>
            <a:r>
              <a:rPr lang="en-IE" dirty="0"/>
              <a:t>The dynamic metadata</a:t>
            </a:r>
          </a:p>
          <a:p>
            <a:pPr lvl="1"/>
            <a:r>
              <a:rPr lang="en-IE" dirty="0"/>
              <a:t>The actual training dataset</a:t>
            </a:r>
          </a:p>
          <a:p>
            <a:pPr lvl="1"/>
            <a:r>
              <a:rPr lang="en-IE" dirty="0"/>
              <a:t>The model test case and test results</a:t>
            </a:r>
          </a:p>
          <a:p>
            <a:pPr lvl="1"/>
            <a:r>
              <a:rPr lang="en-IE" dirty="0"/>
              <a:t>The model usage data (prompts) and outcome </a:t>
            </a:r>
          </a:p>
        </p:txBody>
      </p:sp>
    </p:spTree>
    <p:extLst>
      <p:ext uri="{BB962C8B-B14F-4D97-AF65-F5344CB8AC3E}">
        <p14:creationId xmlns:p14="http://schemas.microsoft.com/office/powerpoint/2010/main" val="34173565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3D6F6-C0E5-8BDD-F247-094F0224139D}"/>
              </a:ext>
            </a:extLst>
          </p:cNvPr>
          <p:cNvSpPr>
            <a:spLocks noGrp="1"/>
          </p:cNvSpPr>
          <p:nvPr>
            <p:ph type="title"/>
          </p:nvPr>
        </p:nvSpPr>
        <p:spPr>
          <a:xfrm>
            <a:off x="452581" y="411307"/>
            <a:ext cx="11321441" cy="535531"/>
          </a:xfrm>
        </p:spPr>
        <p:txBody>
          <a:bodyPr/>
          <a:lstStyle/>
          <a:p>
            <a:r>
              <a:rPr lang="en-IE" dirty="0"/>
              <a:t>Extending the Data Governance Operating Model</a:t>
            </a:r>
          </a:p>
        </p:txBody>
      </p:sp>
      <p:sp>
        <p:nvSpPr>
          <p:cNvPr id="3" name="Content Placeholder 2">
            <a:extLst>
              <a:ext uri="{FF2B5EF4-FFF2-40B4-BE49-F238E27FC236}">
                <a16:creationId xmlns:a16="http://schemas.microsoft.com/office/drawing/2014/main" id="{2A48AE29-06F8-67CD-0BCC-1B2E18BDD603}"/>
              </a:ext>
            </a:extLst>
          </p:cNvPr>
          <p:cNvSpPr>
            <a:spLocks noGrp="1"/>
          </p:cNvSpPr>
          <p:nvPr>
            <p:ph idx="1"/>
          </p:nvPr>
        </p:nvSpPr>
        <p:spPr>
          <a:xfrm>
            <a:off x="582852" y="1325293"/>
            <a:ext cx="4237627" cy="4078039"/>
          </a:xfrm>
        </p:spPr>
        <p:txBody>
          <a:bodyPr/>
          <a:lstStyle/>
          <a:p>
            <a:r>
              <a:rPr lang="en-IE" dirty="0"/>
              <a:t>We need to extend the data governance framework with AI specific roles, policies, procedures and deliverables.</a:t>
            </a:r>
          </a:p>
          <a:p>
            <a:r>
              <a:rPr lang="en-IE" dirty="0"/>
              <a:t>AI Ethics and Trustworthiness need to be transparent.</a:t>
            </a:r>
          </a:p>
          <a:p>
            <a:r>
              <a:rPr lang="en-IE" dirty="0"/>
              <a:t>AI engineers must be aware of the constraints, business users need to understand the underlying principles and limitations. </a:t>
            </a:r>
          </a:p>
          <a:p>
            <a:r>
              <a:rPr lang="en-IE" dirty="0"/>
              <a:t>AI ethics need to be integrated in the data strategy.</a:t>
            </a:r>
          </a:p>
        </p:txBody>
      </p:sp>
      <p:sp>
        <p:nvSpPr>
          <p:cNvPr id="4" name="Rectangle 3">
            <a:extLst>
              <a:ext uri="{FF2B5EF4-FFF2-40B4-BE49-F238E27FC236}">
                <a16:creationId xmlns:a16="http://schemas.microsoft.com/office/drawing/2014/main" id="{01E76F01-0D38-765A-1AD0-CC236988537D}"/>
              </a:ext>
            </a:extLst>
          </p:cNvPr>
          <p:cNvSpPr/>
          <p:nvPr>
            <p:custDataLst>
              <p:tags r:id="rId1"/>
            </p:custDataLst>
          </p:nvPr>
        </p:nvSpPr>
        <p:spPr>
          <a:xfrm>
            <a:off x="5166017" y="3498724"/>
            <a:ext cx="6850954" cy="957497"/>
          </a:xfrm>
          <a:prstGeom prst="rect">
            <a:avLst/>
          </a:prstGeom>
          <a:solidFill>
            <a:schemeClr val="accent1">
              <a:lumMod val="40000"/>
              <a:lumOff val="60000"/>
            </a:schemeClr>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sym typeface="Arial"/>
            </a:endParaRPr>
          </a:p>
        </p:txBody>
      </p:sp>
      <p:sp>
        <p:nvSpPr>
          <p:cNvPr id="5" name="Rectangle 4">
            <a:extLst>
              <a:ext uri="{FF2B5EF4-FFF2-40B4-BE49-F238E27FC236}">
                <a16:creationId xmlns:a16="http://schemas.microsoft.com/office/drawing/2014/main" id="{B89592BD-2978-EDC6-B02B-9AB5A339F412}"/>
              </a:ext>
            </a:extLst>
          </p:cNvPr>
          <p:cNvSpPr/>
          <p:nvPr>
            <p:custDataLst>
              <p:tags r:id="rId2"/>
            </p:custDataLst>
          </p:nvPr>
        </p:nvSpPr>
        <p:spPr>
          <a:xfrm>
            <a:off x="5166017" y="4583295"/>
            <a:ext cx="6850954" cy="957497"/>
          </a:xfrm>
          <a:prstGeom prst="rect">
            <a:avLst/>
          </a:prstGeom>
          <a:solidFill>
            <a:srgbClr val="013360"/>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sym typeface="Arial"/>
            </a:endParaRPr>
          </a:p>
        </p:txBody>
      </p:sp>
      <p:sp>
        <p:nvSpPr>
          <p:cNvPr id="6" name="Rectangle 5">
            <a:extLst>
              <a:ext uri="{FF2B5EF4-FFF2-40B4-BE49-F238E27FC236}">
                <a16:creationId xmlns:a16="http://schemas.microsoft.com/office/drawing/2014/main" id="{D3E4544A-C498-475F-C34F-6359F6B51B8A}"/>
              </a:ext>
            </a:extLst>
          </p:cNvPr>
          <p:cNvSpPr/>
          <p:nvPr>
            <p:custDataLst>
              <p:tags r:id="rId3"/>
            </p:custDataLst>
          </p:nvPr>
        </p:nvSpPr>
        <p:spPr>
          <a:xfrm>
            <a:off x="5166017" y="2414154"/>
            <a:ext cx="6850954" cy="957497"/>
          </a:xfrm>
          <a:prstGeom prst="rect">
            <a:avLst/>
          </a:prstGeom>
          <a:solidFill>
            <a:schemeClr val="bg1">
              <a:lumMod val="85000"/>
              <a:alpha val="70000"/>
            </a:schemeClr>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sym typeface="Arial"/>
            </a:endParaRPr>
          </a:p>
        </p:txBody>
      </p:sp>
      <p:sp>
        <p:nvSpPr>
          <p:cNvPr id="7" name="Rectangle 6">
            <a:extLst>
              <a:ext uri="{FF2B5EF4-FFF2-40B4-BE49-F238E27FC236}">
                <a16:creationId xmlns:a16="http://schemas.microsoft.com/office/drawing/2014/main" id="{2EDE38C5-9B2F-E522-8FD9-6BFAB1BF1611}"/>
              </a:ext>
            </a:extLst>
          </p:cNvPr>
          <p:cNvSpPr/>
          <p:nvPr>
            <p:custDataLst>
              <p:tags r:id="rId4"/>
            </p:custDataLst>
          </p:nvPr>
        </p:nvSpPr>
        <p:spPr>
          <a:xfrm>
            <a:off x="5166017" y="1329585"/>
            <a:ext cx="6850954" cy="957497"/>
          </a:xfrm>
          <a:prstGeom prst="rect">
            <a:avLst/>
          </a:prstGeom>
          <a:solidFill>
            <a:srgbClr val="7030A0">
              <a:alpha val="46000"/>
            </a:srgbClr>
          </a:solidFill>
          <a:ln>
            <a:solidFill>
              <a:schemeClr val="bg1"/>
            </a:solid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Arial"/>
              <a:sym typeface="Arial"/>
            </a:endParaRPr>
          </a:p>
        </p:txBody>
      </p:sp>
      <p:sp>
        <p:nvSpPr>
          <p:cNvPr id="8" name="Arrow: Pentagon 8">
            <a:extLst>
              <a:ext uri="{FF2B5EF4-FFF2-40B4-BE49-F238E27FC236}">
                <a16:creationId xmlns:a16="http://schemas.microsoft.com/office/drawing/2014/main" id="{BDE7CD8A-42DF-C564-488B-74A652B694D8}"/>
              </a:ext>
            </a:extLst>
          </p:cNvPr>
          <p:cNvSpPr/>
          <p:nvPr>
            <p:custDataLst>
              <p:tags r:id="rId5"/>
            </p:custDataLst>
          </p:nvPr>
        </p:nvSpPr>
        <p:spPr>
          <a:xfrm>
            <a:off x="4850257" y="1322259"/>
            <a:ext cx="1905451" cy="957497"/>
          </a:xfrm>
          <a:prstGeom prst="homePlate">
            <a:avLst>
              <a:gd name="adj" fmla="val 25504"/>
            </a:avLst>
          </a:prstGeom>
          <a:solidFill>
            <a:srgbClr val="7030A0"/>
          </a:solidFill>
          <a:ln>
            <a:solidFill>
              <a:schemeClr val="accent1"/>
            </a:solidFill>
            <a:prstDash val="dash"/>
          </a:ln>
          <a:effectLst>
            <a:outerShdw blurRad="57150" dist="19050" dir="5400000" algn="ctr" rotWithShape="0">
              <a:srgbClr val="000000">
                <a:alpha val="63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3</a:t>
            </a:r>
            <a:r>
              <a:rPr kumimoji="0" lang="en-US" sz="12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rd</a:t>
            </a: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 Line of defen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Audit and Review </a:t>
            </a:r>
          </a:p>
        </p:txBody>
      </p:sp>
      <p:sp>
        <p:nvSpPr>
          <p:cNvPr id="9" name="Arrow: Pentagon 9">
            <a:extLst>
              <a:ext uri="{FF2B5EF4-FFF2-40B4-BE49-F238E27FC236}">
                <a16:creationId xmlns:a16="http://schemas.microsoft.com/office/drawing/2014/main" id="{767341C6-3B94-0E63-3128-D1A3AC8F86BD}"/>
              </a:ext>
            </a:extLst>
          </p:cNvPr>
          <p:cNvSpPr/>
          <p:nvPr>
            <p:custDataLst>
              <p:tags r:id="rId6"/>
            </p:custDataLst>
          </p:nvPr>
        </p:nvSpPr>
        <p:spPr>
          <a:xfrm>
            <a:off x="4850257" y="2410088"/>
            <a:ext cx="1974639" cy="949765"/>
          </a:xfrm>
          <a:prstGeom prst="homePlate">
            <a:avLst>
              <a:gd name="adj" fmla="val 26254"/>
            </a:avLst>
          </a:prstGeom>
          <a:solidFill>
            <a:srgbClr val="DCDDE0"/>
          </a:solidFill>
          <a:ln>
            <a:solidFill>
              <a:srgbClr val="024C90"/>
            </a:solidFill>
            <a:prstDash val="dash"/>
          </a:ln>
          <a:effectLst>
            <a:outerShdw blurRad="57150" dist="19050" dir="5400000" algn="ctr" rotWithShape="0">
              <a:srgbClr val="000000">
                <a:alpha val="63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outerShdw blurRad="38100" dist="38100" dir="2700000" algn="tl">
                    <a:srgbClr val="000000">
                      <a:alpha val="43137"/>
                    </a:srgbClr>
                  </a:outerShdw>
                </a:effectLst>
                <a:uLnTx/>
                <a:uFillTx/>
                <a:latin typeface="Calibri" panose="020F0502020204030204"/>
                <a:cs typeface="Arial"/>
                <a:sym typeface="Arial"/>
              </a:rPr>
              <a:t>2</a:t>
            </a:r>
            <a:r>
              <a:rPr kumimoji="0" lang="en-US" sz="1200" b="1" i="0" u="none" strike="noStrike" kern="0" cap="none" spc="0" normalizeH="0" baseline="30000" noProof="0">
                <a:ln>
                  <a:noFill/>
                </a:ln>
                <a:solidFill>
                  <a:srgbClr val="000000"/>
                </a:solidFill>
                <a:effectLst>
                  <a:outerShdw blurRad="38100" dist="38100" dir="2700000" algn="tl">
                    <a:srgbClr val="000000">
                      <a:alpha val="43137"/>
                    </a:srgbClr>
                  </a:outerShdw>
                </a:effectLst>
                <a:uLnTx/>
                <a:uFillTx/>
                <a:latin typeface="Calibri" panose="020F0502020204030204"/>
                <a:cs typeface="Arial"/>
                <a:sym typeface="Arial"/>
              </a:rPr>
              <a:t>nd</a:t>
            </a:r>
            <a:r>
              <a:rPr kumimoji="0" lang="en-US" sz="1200" b="1" i="0" u="none" strike="noStrike" kern="0" cap="none" spc="0" normalizeH="0" baseline="0" noProof="0">
                <a:ln>
                  <a:noFill/>
                </a:ln>
                <a:solidFill>
                  <a:srgbClr val="000000"/>
                </a:solidFill>
                <a:effectLst>
                  <a:outerShdw blurRad="38100" dist="38100" dir="2700000" algn="tl">
                    <a:srgbClr val="000000">
                      <a:alpha val="43137"/>
                    </a:srgbClr>
                  </a:outerShdw>
                </a:effectLst>
                <a:uLnTx/>
                <a:uFillTx/>
                <a:latin typeface="Calibri" panose="020F0502020204030204"/>
                <a:cs typeface="Arial"/>
                <a:sym typeface="Arial"/>
              </a:rPr>
              <a:t>  Line of defen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Arial"/>
                <a:sym typeface="Arial"/>
              </a:rPr>
              <a:t>Risk and Compliance </a:t>
            </a:r>
          </a:p>
        </p:txBody>
      </p:sp>
      <p:sp>
        <p:nvSpPr>
          <p:cNvPr id="10" name="Arrow: Pentagon 10">
            <a:extLst>
              <a:ext uri="{FF2B5EF4-FFF2-40B4-BE49-F238E27FC236}">
                <a16:creationId xmlns:a16="http://schemas.microsoft.com/office/drawing/2014/main" id="{1040CA02-E06A-E3CA-94D7-B2D243B5986B}"/>
              </a:ext>
            </a:extLst>
          </p:cNvPr>
          <p:cNvSpPr/>
          <p:nvPr>
            <p:custDataLst>
              <p:tags r:id="rId7"/>
            </p:custDataLst>
          </p:nvPr>
        </p:nvSpPr>
        <p:spPr>
          <a:xfrm>
            <a:off x="4850258" y="3497929"/>
            <a:ext cx="1974638" cy="947292"/>
          </a:xfrm>
          <a:prstGeom prst="homePlate">
            <a:avLst>
              <a:gd name="adj" fmla="val 26733"/>
            </a:avLst>
          </a:prstGeom>
          <a:solidFill>
            <a:schemeClr val="accent1">
              <a:lumMod val="40000"/>
              <a:lumOff val="60000"/>
            </a:schemeClr>
          </a:solidFill>
          <a:ln>
            <a:solidFill>
              <a:srgbClr val="024C90"/>
            </a:solidFill>
            <a:prstDash val="dash"/>
          </a:ln>
          <a:effectLst>
            <a:outerShdw blurRad="57150" dist="19050" dir="5400000" algn="ctr" rotWithShape="0">
              <a:srgbClr val="000000">
                <a:alpha val="63000"/>
              </a:srgbClr>
            </a:outerShdw>
          </a:effectLst>
        </p:spPr>
        <p:txBody>
          <a:bodyPr lIns="91440" tIns="45720" rIns="91440" bIns="4572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Support 1</a:t>
            </a:r>
            <a:r>
              <a:rPr kumimoji="0" lang="en-US" sz="12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st</a:t>
            </a: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 L</a:t>
            </a:r>
            <a:r>
              <a:rPr kumimoji="0" lang="en-US" sz="1200" b="1" i="0" u="none" strike="noStrike" kern="1200" cap="none" spc="0" normalizeH="0" baseline="0" noProof="0" err="1">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ine</a:t>
            </a: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 of defense </a:t>
            </a:r>
            <a:endParaRPr kumimoji="0" lang="en-US" sz="105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Calibri"/>
              <a:cs typeface="Calibri"/>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Facilitate Data Management for Business</a:t>
            </a:r>
            <a:r>
              <a:rPr kumimoji="0" lang="en-US" sz="100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cs typeface="Arial"/>
                <a:sym typeface="Arial"/>
              </a:rPr>
              <a:t> </a:t>
            </a:r>
            <a:endParaRPr kumimoji="0" lang="en-US" sz="10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Calibri"/>
              <a:cs typeface="Calibri"/>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Arial"/>
              <a:sym typeface="Arial"/>
            </a:endParaRPr>
          </a:p>
        </p:txBody>
      </p:sp>
      <p:sp>
        <p:nvSpPr>
          <p:cNvPr id="11" name="Arrow: Pentagon 11">
            <a:extLst>
              <a:ext uri="{FF2B5EF4-FFF2-40B4-BE49-F238E27FC236}">
                <a16:creationId xmlns:a16="http://schemas.microsoft.com/office/drawing/2014/main" id="{AB89A67B-139C-9C46-630D-EF9C49D39508}"/>
              </a:ext>
            </a:extLst>
          </p:cNvPr>
          <p:cNvSpPr/>
          <p:nvPr>
            <p:custDataLst>
              <p:tags r:id="rId8"/>
            </p:custDataLst>
          </p:nvPr>
        </p:nvSpPr>
        <p:spPr>
          <a:xfrm>
            <a:off x="4850257" y="4573162"/>
            <a:ext cx="1974637" cy="957497"/>
          </a:xfrm>
          <a:prstGeom prst="homePlate">
            <a:avLst>
              <a:gd name="adj" fmla="val 28330"/>
            </a:avLst>
          </a:prstGeom>
          <a:solidFill>
            <a:schemeClr val="accent1">
              <a:lumMod val="60000"/>
              <a:lumOff val="40000"/>
            </a:schemeClr>
          </a:solidFill>
          <a:ln>
            <a:solidFill>
              <a:srgbClr val="024C90"/>
            </a:solidFill>
            <a:prstDash val="dash"/>
          </a:ln>
          <a:effectLst>
            <a:outerShdw blurRad="57150" dist="19050" dir="5400000" algn="ctr" rotWithShape="0">
              <a:srgbClr val="000000">
                <a:alpha val="63000"/>
              </a:srgbClr>
            </a:outerShdw>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1</a:t>
            </a:r>
            <a:r>
              <a:rPr kumimoji="0" lang="en-US" sz="1200" b="1" i="0" u="none" strike="noStrike" kern="1200" cap="none" spc="0" normalizeH="0" baseline="3000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st</a:t>
            </a: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  Line of defen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Business, Executing Data Management Proces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Arial"/>
              <a:sym typeface="Arial"/>
            </a:endParaRPr>
          </a:p>
        </p:txBody>
      </p:sp>
      <p:sp>
        <p:nvSpPr>
          <p:cNvPr id="12" name="Rectangle 11">
            <a:extLst>
              <a:ext uri="{FF2B5EF4-FFF2-40B4-BE49-F238E27FC236}">
                <a16:creationId xmlns:a16="http://schemas.microsoft.com/office/drawing/2014/main" id="{AD7B23CB-DC2E-8850-93B5-469E2D635CB4}"/>
              </a:ext>
            </a:extLst>
          </p:cNvPr>
          <p:cNvSpPr/>
          <p:nvPr>
            <p:custDataLst>
              <p:tags r:id="rId9"/>
            </p:custDataLst>
          </p:nvPr>
        </p:nvSpPr>
        <p:spPr>
          <a:xfrm>
            <a:off x="10542235" y="2681061"/>
            <a:ext cx="1200670" cy="476215"/>
          </a:xfrm>
          <a:prstGeom prst="rect">
            <a:avLst/>
          </a:prstGeom>
          <a:noFill/>
          <a:ln w="12700" cap="flat" cmpd="sng" algn="ctr">
            <a:noFill/>
            <a:prstDash val="dash"/>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Arial"/>
                <a:sym typeface="Arial"/>
              </a:rPr>
              <a:t>Compliance</a:t>
            </a:r>
          </a:p>
        </p:txBody>
      </p:sp>
      <p:sp>
        <p:nvSpPr>
          <p:cNvPr id="13" name="Rectangle 12">
            <a:extLst>
              <a:ext uri="{FF2B5EF4-FFF2-40B4-BE49-F238E27FC236}">
                <a16:creationId xmlns:a16="http://schemas.microsoft.com/office/drawing/2014/main" id="{67E7DEC7-D524-FC0E-CEFA-89FBA9235289}"/>
              </a:ext>
            </a:extLst>
          </p:cNvPr>
          <p:cNvSpPr/>
          <p:nvPr>
            <p:custDataLst>
              <p:tags r:id="rId10"/>
            </p:custDataLst>
          </p:nvPr>
        </p:nvSpPr>
        <p:spPr>
          <a:xfrm>
            <a:off x="10394731" y="1595306"/>
            <a:ext cx="1421896" cy="476215"/>
          </a:xfrm>
          <a:prstGeom prst="rect">
            <a:avLst/>
          </a:prstGeom>
          <a:noFill/>
          <a:ln w="12700" cap="flat" cmpd="sng" algn="ctr">
            <a:noFill/>
            <a:prstDash val="dash"/>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FFFFFF"/>
                </a:solidFill>
                <a:effectLst/>
                <a:uLnTx/>
                <a:uFillTx/>
                <a:latin typeface="Calibri" panose="020F0502020204030204"/>
                <a:cs typeface="Arial"/>
                <a:sym typeface="Arial"/>
              </a:rPr>
              <a:t>Internal Audit</a:t>
            </a:r>
          </a:p>
        </p:txBody>
      </p:sp>
      <p:sp>
        <p:nvSpPr>
          <p:cNvPr id="14" name="Rectangle 13">
            <a:extLst>
              <a:ext uri="{FF2B5EF4-FFF2-40B4-BE49-F238E27FC236}">
                <a16:creationId xmlns:a16="http://schemas.microsoft.com/office/drawing/2014/main" id="{A1BF6976-25F7-DFE1-3160-43DB57247091}"/>
              </a:ext>
            </a:extLst>
          </p:cNvPr>
          <p:cNvSpPr/>
          <p:nvPr>
            <p:custDataLst>
              <p:tags r:id="rId11"/>
            </p:custDataLst>
          </p:nvPr>
        </p:nvSpPr>
        <p:spPr>
          <a:xfrm>
            <a:off x="6770747" y="3496618"/>
            <a:ext cx="1338262" cy="476215"/>
          </a:xfrm>
          <a:prstGeom prst="rect">
            <a:avLst/>
          </a:prstGeom>
          <a:no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Dat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Management</a:t>
            </a:r>
          </a:p>
        </p:txBody>
      </p:sp>
      <p:sp>
        <p:nvSpPr>
          <p:cNvPr id="15" name="Rectangle 14">
            <a:extLst>
              <a:ext uri="{FF2B5EF4-FFF2-40B4-BE49-F238E27FC236}">
                <a16:creationId xmlns:a16="http://schemas.microsoft.com/office/drawing/2014/main" id="{0E0268EF-C049-6A3C-1E43-36FF36EDA66A}"/>
              </a:ext>
            </a:extLst>
          </p:cNvPr>
          <p:cNvSpPr/>
          <p:nvPr>
            <p:custDataLst>
              <p:tags r:id="rId12"/>
            </p:custDataLst>
          </p:nvPr>
        </p:nvSpPr>
        <p:spPr>
          <a:xfrm>
            <a:off x="10617917" y="3640138"/>
            <a:ext cx="1033332" cy="421352"/>
          </a:xfrm>
          <a:prstGeom prst="rect">
            <a:avLst/>
          </a:prstGeom>
          <a:noFill/>
          <a:ln w="12700" cap="flat" cmpd="sng" algn="ctr">
            <a:no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Arial"/>
                <a:sym typeface="Arial"/>
              </a:rPr>
              <a:t> Technology </a:t>
            </a:r>
          </a:p>
        </p:txBody>
      </p:sp>
      <p:sp>
        <p:nvSpPr>
          <p:cNvPr id="16" name="Rectangle 15">
            <a:extLst>
              <a:ext uri="{FF2B5EF4-FFF2-40B4-BE49-F238E27FC236}">
                <a16:creationId xmlns:a16="http://schemas.microsoft.com/office/drawing/2014/main" id="{D575AC35-44EC-0F04-0163-B0B57A196B4C}"/>
              </a:ext>
            </a:extLst>
          </p:cNvPr>
          <p:cNvSpPr/>
          <p:nvPr>
            <p:custDataLst>
              <p:tags r:id="rId13"/>
            </p:custDataLst>
          </p:nvPr>
        </p:nvSpPr>
        <p:spPr>
          <a:xfrm>
            <a:off x="7331644" y="2695591"/>
            <a:ext cx="776764" cy="421352"/>
          </a:xfrm>
          <a:prstGeom prst="rect">
            <a:avLst/>
          </a:prstGeom>
          <a:noFill/>
          <a:ln w="12700" cap="flat" cmpd="sng" algn="ctr">
            <a:noFill/>
            <a:prstDash val="dash"/>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a:ea typeface="+mn-ea"/>
                <a:cs typeface="Arial"/>
                <a:sym typeface="Arial"/>
              </a:rPr>
              <a:t>Risk</a:t>
            </a:r>
          </a:p>
        </p:txBody>
      </p:sp>
      <p:grpSp>
        <p:nvGrpSpPr>
          <p:cNvPr id="17" name="Group 16">
            <a:extLst>
              <a:ext uri="{FF2B5EF4-FFF2-40B4-BE49-F238E27FC236}">
                <a16:creationId xmlns:a16="http://schemas.microsoft.com/office/drawing/2014/main" id="{90B3B388-623D-C6C2-DD21-C3C3D6ABDAF3}"/>
              </a:ext>
            </a:extLst>
          </p:cNvPr>
          <p:cNvGrpSpPr>
            <a:grpSpLocks noChangeAspect="1"/>
          </p:cNvGrpSpPr>
          <p:nvPr/>
        </p:nvGrpSpPr>
        <p:grpSpPr>
          <a:xfrm rot="277593">
            <a:off x="7207040" y="4184999"/>
            <a:ext cx="3789370" cy="1600244"/>
            <a:chOff x="2924057" y="4387340"/>
            <a:chExt cx="4432905" cy="1463040"/>
          </a:xfrm>
        </p:grpSpPr>
        <p:sp>
          <p:nvSpPr>
            <p:cNvPr id="18" name="bk object 16">
              <a:extLst>
                <a:ext uri="{FF2B5EF4-FFF2-40B4-BE49-F238E27FC236}">
                  <a16:creationId xmlns:a16="http://schemas.microsoft.com/office/drawing/2014/main" id="{F1DB9C36-8D3C-CDDF-E0B0-D2EE04478956}"/>
                </a:ext>
              </a:extLst>
            </p:cNvPr>
            <p:cNvSpPr>
              <a:spLocks/>
            </p:cNvSpPr>
            <p:nvPr/>
          </p:nvSpPr>
          <p:spPr bwMode="auto">
            <a:xfrm>
              <a:off x="3346543" y="4387340"/>
              <a:ext cx="3479052" cy="599338"/>
            </a:xfrm>
            <a:custGeom>
              <a:avLst/>
              <a:gdLst>
                <a:gd name="T0" fmla="*/ 1623644 w 6208395"/>
                <a:gd name="T1" fmla="*/ 0 h 1048384"/>
                <a:gd name="T2" fmla="*/ 0 w 6208395"/>
                <a:gd name="T3" fmla="*/ 1047914 h 1048384"/>
                <a:gd name="T4" fmla="*/ 5480342 w 6208395"/>
                <a:gd name="T5" fmla="*/ 1047914 h 1048384"/>
                <a:gd name="T6" fmla="*/ 6208356 w 6208395"/>
                <a:gd name="T7" fmla="*/ 5206 h 1048384"/>
                <a:gd name="T8" fmla="*/ 1623644 w 6208395"/>
                <a:gd name="T9" fmla="*/ 0 h 10483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08395" h="1048384">
                  <a:moveTo>
                    <a:pt x="1623644" y="0"/>
                  </a:moveTo>
                  <a:lnTo>
                    <a:pt x="0" y="1047902"/>
                  </a:lnTo>
                  <a:lnTo>
                    <a:pt x="5480342" y="1047902"/>
                  </a:lnTo>
                  <a:lnTo>
                    <a:pt x="6208356" y="5206"/>
                  </a:lnTo>
                  <a:lnTo>
                    <a:pt x="1623644" y="0"/>
                  </a:lnTo>
                  <a:close/>
                </a:path>
              </a:pathLst>
            </a:custGeom>
            <a:solidFill>
              <a:srgbClr val="024480"/>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grpSp>
          <p:nvGrpSpPr>
            <p:cNvPr id="19" name="Group 18">
              <a:extLst>
                <a:ext uri="{FF2B5EF4-FFF2-40B4-BE49-F238E27FC236}">
                  <a16:creationId xmlns:a16="http://schemas.microsoft.com/office/drawing/2014/main" id="{A85E9269-8CB8-10D6-90DE-6E3CDC680C10}"/>
                </a:ext>
              </a:extLst>
            </p:cNvPr>
            <p:cNvGrpSpPr/>
            <p:nvPr/>
          </p:nvGrpSpPr>
          <p:grpSpPr>
            <a:xfrm>
              <a:off x="2924057" y="4390320"/>
              <a:ext cx="4432905" cy="1460060"/>
              <a:chOff x="2924057" y="4390320"/>
              <a:chExt cx="4432905" cy="1460060"/>
            </a:xfrm>
          </p:grpSpPr>
          <p:sp>
            <p:nvSpPr>
              <p:cNvPr id="20" name="bk object 17">
                <a:extLst>
                  <a:ext uri="{FF2B5EF4-FFF2-40B4-BE49-F238E27FC236}">
                    <a16:creationId xmlns:a16="http://schemas.microsoft.com/office/drawing/2014/main" id="{6732F6AD-D8C7-EFE7-DD42-530D64724D94}"/>
                  </a:ext>
                </a:extLst>
              </p:cNvPr>
              <p:cNvSpPr>
                <a:spLocks/>
              </p:cNvSpPr>
              <p:nvPr/>
            </p:nvSpPr>
            <p:spPr bwMode="auto">
              <a:xfrm>
                <a:off x="2924057" y="4985597"/>
                <a:ext cx="3914515" cy="864464"/>
              </a:xfrm>
              <a:custGeom>
                <a:avLst/>
                <a:gdLst>
                  <a:gd name="T0" fmla="*/ 6234696 w 6985634"/>
                  <a:gd name="T1" fmla="*/ 202120 h 1713229"/>
                  <a:gd name="T2" fmla="*/ 750836 w 6985634"/>
                  <a:gd name="T3" fmla="*/ 202120 h 1713229"/>
                  <a:gd name="T4" fmla="*/ 0 w 6985634"/>
                  <a:gd name="T5" fmla="*/ 1712873 h 1713229"/>
                  <a:gd name="T6" fmla="*/ 6985482 w 6985634"/>
                  <a:gd name="T7" fmla="*/ 1712873 h 1713229"/>
                  <a:gd name="T8" fmla="*/ 6234557 w 6985634"/>
                  <a:gd name="T9" fmla="*/ 202336 h 1713229"/>
                  <a:gd name="T10" fmla="*/ 6234696 w 6985634"/>
                  <a:gd name="T11" fmla="*/ 202120 h 1713229"/>
                  <a:gd name="T12" fmla="*/ 3429482 w 6985634"/>
                  <a:gd name="T13" fmla="*/ 0 h 1713229"/>
                  <a:gd name="T14" fmla="*/ 3383457 w 6985634"/>
                  <a:gd name="T15" fmla="*/ 5301 h 1713229"/>
                  <a:gd name="T16" fmla="*/ 3341208 w 6985634"/>
                  <a:gd name="T17" fmla="*/ 20401 h 1713229"/>
                  <a:gd name="T18" fmla="*/ 3303939 w 6985634"/>
                  <a:gd name="T19" fmla="*/ 44095 h 1713229"/>
                  <a:gd name="T20" fmla="*/ 3272855 w 6985634"/>
                  <a:gd name="T21" fmla="*/ 75178 h 1713229"/>
                  <a:gd name="T22" fmla="*/ 3249160 w 6985634"/>
                  <a:gd name="T23" fmla="*/ 112444 h 1713229"/>
                  <a:gd name="T24" fmla="*/ 3234060 w 6985634"/>
                  <a:gd name="T25" fmla="*/ 154690 h 1713229"/>
                  <a:gd name="T26" fmla="*/ 3228759 w 6985634"/>
                  <a:gd name="T27" fmla="*/ 200710 h 1713229"/>
                  <a:gd name="T28" fmla="*/ 3228822 w 6985634"/>
                  <a:gd name="T29" fmla="*/ 202120 h 1713229"/>
                  <a:gd name="T30" fmla="*/ 3630129 w 6985634"/>
                  <a:gd name="T31" fmla="*/ 202120 h 1713229"/>
                  <a:gd name="T32" fmla="*/ 3630193 w 6985634"/>
                  <a:gd name="T33" fmla="*/ 200710 h 1713229"/>
                  <a:gd name="T34" fmla="*/ 3624892 w 6985634"/>
                  <a:gd name="T35" fmla="*/ 154690 h 1713229"/>
                  <a:gd name="T36" fmla="*/ 3609792 w 6985634"/>
                  <a:gd name="T37" fmla="*/ 112444 h 1713229"/>
                  <a:gd name="T38" fmla="*/ 3586098 w 6985634"/>
                  <a:gd name="T39" fmla="*/ 75178 h 1713229"/>
                  <a:gd name="T40" fmla="*/ 3555015 w 6985634"/>
                  <a:gd name="T41" fmla="*/ 44095 h 1713229"/>
                  <a:gd name="T42" fmla="*/ 3517748 w 6985634"/>
                  <a:gd name="T43" fmla="*/ 20401 h 1713229"/>
                  <a:gd name="T44" fmla="*/ 3475502 w 6985634"/>
                  <a:gd name="T45" fmla="*/ 5301 h 1713229"/>
                  <a:gd name="T46" fmla="*/ 3429482 w 6985634"/>
                  <a:gd name="T47" fmla="*/ 0 h 171322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connsiteX0" fmla="*/ 6234696 w 6985482"/>
                  <a:gd name="connsiteY0" fmla="*/ 202120 h 1712862"/>
                  <a:gd name="connsiteX1" fmla="*/ 750836 w 6985482"/>
                  <a:gd name="connsiteY1" fmla="*/ 202120 h 1712862"/>
                  <a:gd name="connsiteX2" fmla="*/ 0 w 6985482"/>
                  <a:gd name="connsiteY2" fmla="*/ 1712861 h 1712862"/>
                  <a:gd name="connsiteX3" fmla="*/ 6985482 w 6985482"/>
                  <a:gd name="connsiteY3" fmla="*/ 1712861 h 1712862"/>
                  <a:gd name="connsiteX4" fmla="*/ 6234557 w 6985482"/>
                  <a:gd name="connsiteY4" fmla="*/ 202336 h 1712862"/>
                  <a:gd name="connsiteX5" fmla="*/ 6234696 w 6985482"/>
                  <a:gd name="connsiteY5" fmla="*/ 202120 h 1712862"/>
                  <a:gd name="connsiteX0" fmla="*/ 3429482 w 6985482"/>
                  <a:gd name="connsiteY0" fmla="*/ 0 h 1712862"/>
                  <a:gd name="connsiteX1" fmla="*/ 3383457 w 6985482"/>
                  <a:gd name="connsiteY1" fmla="*/ 5301 h 1712862"/>
                  <a:gd name="connsiteX2" fmla="*/ 3341208 w 6985482"/>
                  <a:gd name="connsiteY2" fmla="*/ 20401 h 1712862"/>
                  <a:gd name="connsiteX3" fmla="*/ 3303939 w 6985482"/>
                  <a:gd name="connsiteY3" fmla="*/ 44095 h 1712862"/>
                  <a:gd name="connsiteX4" fmla="*/ 3272855 w 6985482"/>
                  <a:gd name="connsiteY4" fmla="*/ 75178 h 1712862"/>
                  <a:gd name="connsiteX5" fmla="*/ 3249160 w 6985482"/>
                  <a:gd name="connsiteY5" fmla="*/ 112444 h 1712862"/>
                  <a:gd name="connsiteX6" fmla="*/ 3234060 w 6985482"/>
                  <a:gd name="connsiteY6" fmla="*/ 154690 h 1712862"/>
                  <a:gd name="connsiteX7" fmla="*/ 3228759 w 6985482"/>
                  <a:gd name="connsiteY7" fmla="*/ 200710 h 1712862"/>
                  <a:gd name="connsiteX8" fmla="*/ 3228822 w 6985482"/>
                  <a:gd name="connsiteY8" fmla="*/ 202120 h 1712862"/>
                  <a:gd name="connsiteX9" fmla="*/ 3630129 w 6985482"/>
                  <a:gd name="connsiteY9" fmla="*/ 202120 h 1712862"/>
                  <a:gd name="connsiteX10" fmla="*/ 3630193 w 6985482"/>
                  <a:gd name="connsiteY10" fmla="*/ 200710 h 1712862"/>
                  <a:gd name="connsiteX11" fmla="*/ 3624892 w 6985482"/>
                  <a:gd name="connsiteY11" fmla="*/ 154690 h 1712862"/>
                  <a:gd name="connsiteX12" fmla="*/ 3609792 w 6985482"/>
                  <a:gd name="connsiteY12" fmla="*/ 112444 h 1712862"/>
                  <a:gd name="connsiteX13" fmla="*/ 3586098 w 6985482"/>
                  <a:gd name="connsiteY13" fmla="*/ 75178 h 1712862"/>
                  <a:gd name="connsiteX14" fmla="*/ 3555015 w 6985482"/>
                  <a:gd name="connsiteY14" fmla="*/ 44095 h 1712862"/>
                  <a:gd name="connsiteX15" fmla="*/ 3517748 w 6985482"/>
                  <a:gd name="connsiteY15" fmla="*/ 20401 h 1712862"/>
                  <a:gd name="connsiteX16" fmla="*/ 3429482 w 6985482"/>
                  <a:gd name="connsiteY16" fmla="*/ 0 h 1712862"/>
                  <a:gd name="connsiteX0" fmla="*/ 6234696 w 6985482"/>
                  <a:gd name="connsiteY0" fmla="*/ 202120 h 1712860"/>
                  <a:gd name="connsiteX1" fmla="*/ 750836 w 6985482"/>
                  <a:gd name="connsiteY1" fmla="*/ 202120 h 1712860"/>
                  <a:gd name="connsiteX2" fmla="*/ 0 w 6985482"/>
                  <a:gd name="connsiteY2" fmla="*/ 1712861 h 1712860"/>
                  <a:gd name="connsiteX3" fmla="*/ 6985482 w 6985482"/>
                  <a:gd name="connsiteY3" fmla="*/ 1712861 h 1712860"/>
                  <a:gd name="connsiteX4" fmla="*/ 6234557 w 6985482"/>
                  <a:gd name="connsiteY4" fmla="*/ 202336 h 1712860"/>
                  <a:gd name="connsiteX5" fmla="*/ 6234696 w 6985482"/>
                  <a:gd name="connsiteY5" fmla="*/ 202120 h 1712860"/>
                  <a:gd name="connsiteX0" fmla="*/ 3429482 w 6985482"/>
                  <a:gd name="connsiteY0" fmla="*/ 0 h 1712860"/>
                  <a:gd name="connsiteX1" fmla="*/ 3383457 w 6985482"/>
                  <a:gd name="connsiteY1" fmla="*/ 5301 h 1712860"/>
                  <a:gd name="connsiteX2" fmla="*/ 3341208 w 6985482"/>
                  <a:gd name="connsiteY2" fmla="*/ 20401 h 1712860"/>
                  <a:gd name="connsiteX3" fmla="*/ 3303939 w 6985482"/>
                  <a:gd name="connsiteY3" fmla="*/ 44095 h 1712860"/>
                  <a:gd name="connsiteX4" fmla="*/ 3272855 w 6985482"/>
                  <a:gd name="connsiteY4" fmla="*/ 75178 h 1712860"/>
                  <a:gd name="connsiteX5" fmla="*/ 3249160 w 6985482"/>
                  <a:gd name="connsiteY5" fmla="*/ 112444 h 1712860"/>
                  <a:gd name="connsiteX6" fmla="*/ 3234060 w 6985482"/>
                  <a:gd name="connsiteY6" fmla="*/ 154690 h 1712860"/>
                  <a:gd name="connsiteX7" fmla="*/ 3228759 w 6985482"/>
                  <a:gd name="connsiteY7" fmla="*/ 200710 h 1712860"/>
                  <a:gd name="connsiteX8" fmla="*/ 3228822 w 6985482"/>
                  <a:gd name="connsiteY8" fmla="*/ 202120 h 1712860"/>
                  <a:gd name="connsiteX9" fmla="*/ 3630129 w 6985482"/>
                  <a:gd name="connsiteY9" fmla="*/ 202120 h 1712860"/>
                  <a:gd name="connsiteX10" fmla="*/ 3630193 w 6985482"/>
                  <a:gd name="connsiteY10" fmla="*/ 200710 h 1712860"/>
                  <a:gd name="connsiteX11" fmla="*/ 3624892 w 6985482"/>
                  <a:gd name="connsiteY11" fmla="*/ 154690 h 1712860"/>
                  <a:gd name="connsiteX12" fmla="*/ 3609792 w 6985482"/>
                  <a:gd name="connsiteY12" fmla="*/ 112444 h 1712860"/>
                  <a:gd name="connsiteX13" fmla="*/ 3586098 w 6985482"/>
                  <a:gd name="connsiteY13" fmla="*/ 75178 h 1712860"/>
                  <a:gd name="connsiteX14" fmla="*/ 3555015 w 6985482"/>
                  <a:gd name="connsiteY14" fmla="*/ 44095 h 1712860"/>
                  <a:gd name="connsiteX15" fmla="*/ 3429482 w 6985482"/>
                  <a:gd name="connsiteY15" fmla="*/ 0 h 1712860"/>
                  <a:gd name="connsiteX0" fmla="*/ 6234696 w 6985482"/>
                  <a:gd name="connsiteY0" fmla="*/ 202120 h 1712862"/>
                  <a:gd name="connsiteX1" fmla="*/ 750836 w 6985482"/>
                  <a:gd name="connsiteY1" fmla="*/ 202120 h 1712862"/>
                  <a:gd name="connsiteX2" fmla="*/ 0 w 6985482"/>
                  <a:gd name="connsiteY2" fmla="*/ 1712861 h 1712862"/>
                  <a:gd name="connsiteX3" fmla="*/ 6985482 w 6985482"/>
                  <a:gd name="connsiteY3" fmla="*/ 1712861 h 1712862"/>
                  <a:gd name="connsiteX4" fmla="*/ 6234557 w 6985482"/>
                  <a:gd name="connsiteY4" fmla="*/ 202336 h 1712862"/>
                  <a:gd name="connsiteX5" fmla="*/ 6234696 w 6985482"/>
                  <a:gd name="connsiteY5" fmla="*/ 202120 h 1712862"/>
                  <a:gd name="connsiteX0" fmla="*/ 3429482 w 6985482"/>
                  <a:gd name="connsiteY0" fmla="*/ 0 h 1712862"/>
                  <a:gd name="connsiteX1" fmla="*/ 3383457 w 6985482"/>
                  <a:gd name="connsiteY1" fmla="*/ 5301 h 1712862"/>
                  <a:gd name="connsiteX2" fmla="*/ 3341208 w 6985482"/>
                  <a:gd name="connsiteY2" fmla="*/ 20401 h 1712862"/>
                  <a:gd name="connsiteX3" fmla="*/ 3303939 w 6985482"/>
                  <a:gd name="connsiteY3" fmla="*/ 44095 h 1712862"/>
                  <a:gd name="connsiteX4" fmla="*/ 3272855 w 6985482"/>
                  <a:gd name="connsiteY4" fmla="*/ 75178 h 1712862"/>
                  <a:gd name="connsiteX5" fmla="*/ 3249160 w 6985482"/>
                  <a:gd name="connsiteY5" fmla="*/ 112444 h 1712862"/>
                  <a:gd name="connsiteX6" fmla="*/ 3234060 w 6985482"/>
                  <a:gd name="connsiteY6" fmla="*/ 154690 h 1712862"/>
                  <a:gd name="connsiteX7" fmla="*/ 3228759 w 6985482"/>
                  <a:gd name="connsiteY7" fmla="*/ 200710 h 1712862"/>
                  <a:gd name="connsiteX8" fmla="*/ 3228822 w 6985482"/>
                  <a:gd name="connsiteY8" fmla="*/ 202120 h 1712862"/>
                  <a:gd name="connsiteX9" fmla="*/ 3630129 w 6985482"/>
                  <a:gd name="connsiteY9" fmla="*/ 202120 h 1712862"/>
                  <a:gd name="connsiteX10" fmla="*/ 3630193 w 6985482"/>
                  <a:gd name="connsiteY10" fmla="*/ 200710 h 1712862"/>
                  <a:gd name="connsiteX11" fmla="*/ 3624892 w 6985482"/>
                  <a:gd name="connsiteY11" fmla="*/ 154690 h 1712862"/>
                  <a:gd name="connsiteX12" fmla="*/ 3609792 w 6985482"/>
                  <a:gd name="connsiteY12" fmla="*/ 112444 h 1712862"/>
                  <a:gd name="connsiteX13" fmla="*/ 3586098 w 6985482"/>
                  <a:gd name="connsiteY13" fmla="*/ 75178 h 1712862"/>
                  <a:gd name="connsiteX14" fmla="*/ 3429482 w 6985482"/>
                  <a:gd name="connsiteY14" fmla="*/ 0 h 1712862"/>
                  <a:gd name="connsiteX0" fmla="*/ 6234696 w 6985482"/>
                  <a:gd name="connsiteY0" fmla="*/ 202120 h 1712860"/>
                  <a:gd name="connsiteX1" fmla="*/ 750836 w 6985482"/>
                  <a:gd name="connsiteY1" fmla="*/ 202120 h 1712860"/>
                  <a:gd name="connsiteX2" fmla="*/ 0 w 6985482"/>
                  <a:gd name="connsiteY2" fmla="*/ 1712861 h 1712860"/>
                  <a:gd name="connsiteX3" fmla="*/ 6985482 w 6985482"/>
                  <a:gd name="connsiteY3" fmla="*/ 1712861 h 1712860"/>
                  <a:gd name="connsiteX4" fmla="*/ 6234557 w 6985482"/>
                  <a:gd name="connsiteY4" fmla="*/ 202336 h 1712860"/>
                  <a:gd name="connsiteX5" fmla="*/ 6234696 w 6985482"/>
                  <a:gd name="connsiteY5" fmla="*/ 202120 h 1712860"/>
                  <a:gd name="connsiteX0" fmla="*/ 3429482 w 6985482"/>
                  <a:gd name="connsiteY0" fmla="*/ 0 h 1712860"/>
                  <a:gd name="connsiteX1" fmla="*/ 3383457 w 6985482"/>
                  <a:gd name="connsiteY1" fmla="*/ 5301 h 1712860"/>
                  <a:gd name="connsiteX2" fmla="*/ 3341208 w 6985482"/>
                  <a:gd name="connsiteY2" fmla="*/ 20401 h 1712860"/>
                  <a:gd name="connsiteX3" fmla="*/ 3303939 w 6985482"/>
                  <a:gd name="connsiteY3" fmla="*/ 44095 h 1712860"/>
                  <a:gd name="connsiteX4" fmla="*/ 3272855 w 6985482"/>
                  <a:gd name="connsiteY4" fmla="*/ 75178 h 1712860"/>
                  <a:gd name="connsiteX5" fmla="*/ 3249160 w 6985482"/>
                  <a:gd name="connsiteY5" fmla="*/ 112444 h 1712860"/>
                  <a:gd name="connsiteX6" fmla="*/ 3234060 w 6985482"/>
                  <a:gd name="connsiteY6" fmla="*/ 154690 h 1712860"/>
                  <a:gd name="connsiteX7" fmla="*/ 3228759 w 6985482"/>
                  <a:gd name="connsiteY7" fmla="*/ 200710 h 1712860"/>
                  <a:gd name="connsiteX8" fmla="*/ 3228822 w 6985482"/>
                  <a:gd name="connsiteY8" fmla="*/ 202120 h 1712860"/>
                  <a:gd name="connsiteX9" fmla="*/ 3630129 w 6985482"/>
                  <a:gd name="connsiteY9" fmla="*/ 202120 h 1712860"/>
                  <a:gd name="connsiteX10" fmla="*/ 3630193 w 6985482"/>
                  <a:gd name="connsiteY10" fmla="*/ 200710 h 1712860"/>
                  <a:gd name="connsiteX11" fmla="*/ 3624892 w 6985482"/>
                  <a:gd name="connsiteY11" fmla="*/ 154690 h 1712860"/>
                  <a:gd name="connsiteX12" fmla="*/ 3609792 w 6985482"/>
                  <a:gd name="connsiteY12" fmla="*/ 112444 h 1712860"/>
                  <a:gd name="connsiteX13" fmla="*/ 3429482 w 6985482"/>
                  <a:gd name="connsiteY13" fmla="*/ 0 h 1712860"/>
                  <a:gd name="connsiteX0" fmla="*/ 6234696 w 6985482"/>
                  <a:gd name="connsiteY0" fmla="*/ 202120 h 1712862"/>
                  <a:gd name="connsiteX1" fmla="*/ 750836 w 6985482"/>
                  <a:gd name="connsiteY1" fmla="*/ 202120 h 1712862"/>
                  <a:gd name="connsiteX2" fmla="*/ 0 w 6985482"/>
                  <a:gd name="connsiteY2" fmla="*/ 1712861 h 1712862"/>
                  <a:gd name="connsiteX3" fmla="*/ 6985482 w 6985482"/>
                  <a:gd name="connsiteY3" fmla="*/ 1712861 h 1712862"/>
                  <a:gd name="connsiteX4" fmla="*/ 6234557 w 6985482"/>
                  <a:gd name="connsiteY4" fmla="*/ 202336 h 1712862"/>
                  <a:gd name="connsiteX5" fmla="*/ 6234696 w 6985482"/>
                  <a:gd name="connsiteY5" fmla="*/ 202120 h 1712862"/>
                  <a:gd name="connsiteX0" fmla="*/ 3429482 w 6985482"/>
                  <a:gd name="connsiteY0" fmla="*/ 0 h 1712862"/>
                  <a:gd name="connsiteX1" fmla="*/ 3383457 w 6985482"/>
                  <a:gd name="connsiteY1" fmla="*/ 5301 h 1712862"/>
                  <a:gd name="connsiteX2" fmla="*/ 3341208 w 6985482"/>
                  <a:gd name="connsiteY2" fmla="*/ 20401 h 1712862"/>
                  <a:gd name="connsiteX3" fmla="*/ 3303939 w 6985482"/>
                  <a:gd name="connsiteY3" fmla="*/ 44095 h 1712862"/>
                  <a:gd name="connsiteX4" fmla="*/ 3272855 w 6985482"/>
                  <a:gd name="connsiteY4" fmla="*/ 75178 h 1712862"/>
                  <a:gd name="connsiteX5" fmla="*/ 3249160 w 6985482"/>
                  <a:gd name="connsiteY5" fmla="*/ 112444 h 1712862"/>
                  <a:gd name="connsiteX6" fmla="*/ 3234060 w 6985482"/>
                  <a:gd name="connsiteY6" fmla="*/ 154690 h 1712862"/>
                  <a:gd name="connsiteX7" fmla="*/ 3228759 w 6985482"/>
                  <a:gd name="connsiteY7" fmla="*/ 200710 h 1712862"/>
                  <a:gd name="connsiteX8" fmla="*/ 3228822 w 6985482"/>
                  <a:gd name="connsiteY8" fmla="*/ 202120 h 1712862"/>
                  <a:gd name="connsiteX9" fmla="*/ 3630129 w 6985482"/>
                  <a:gd name="connsiteY9" fmla="*/ 202120 h 1712862"/>
                  <a:gd name="connsiteX10" fmla="*/ 3630193 w 6985482"/>
                  <a:gd name="connsiteY10" fmla="*/ 200710 h 1712862"/>
                  <a:gd name="connsiteX11" fmla="*/ 3624892 w 6985482"/>
                  <a:gd name="connsiteY11" fmla="*/ 154690 h 1712862"/>
                  <a:gd name="connsiteX12" fmla="*/ 3429482 w 6985482"/>
                  <a:gd name="connsiteY12" fmla="*/ 0 h 1712862"/>
                  <a:gd name="connsiteX0" fmla="*/ 6234696 w 6985482"/>
                  <a:gd name="connsiteY0" fmla="*/ 202120 h 1712860"/>
                  <a:gd name="connsiteX1" fmla="*/ 750836 w 6985482"/>
                  <a:gd name="connsiteY1" fmla="*/ 202120 h 1712860"/>
                  <a:gd name="connsiteX2" fmla="*/ 0 w 6985482"/>
                  <a:gd name="connsiteY2" fmla="*/ 1712861 h 1712860"/>
                  <a:gd name="connsiteX3" fmla="*/ 6985482 w 6985482"/>
                  <a:gd name="connsiteY3" fmla="*/ 1712861 h 1712860"/>
                  <a:gd name="connsiteX4" fmla="*/ 6234557 w 6985482"/>
                  <a:gd name="connsiteY4" fmla="*/ 202336 h 1712860"/>
                  <a:gd name="connsiteX5" fmla="*/ 6234696 w 6985482"/>
                  <a:gd name="connsiteY5" fmla="*/ 202120 h 1712860"/>
                  <a:gd name="connsiteX0" fmla="*/ 3429482 w 6985482"/>
                  <a:gd name="connsiteY0" fmla="*/ 0 h 1712860"/>
                  <a:gd name="connsiteX1" fmla="*/ 3341208 w 6985482"/>
                  <a:gd name="connsiteY1" fmla="*/ 20401 h 1712860"/>
                  <a:gd name="connsiteX2" fmla="*/ 3303939 w 6985482"/>
                  <a:gd name="connsiteY2" fmla="*/ 44095 h 1712860"/>
                  <a:gd name="connsiteX3" fmla="*/ 3272855 w 6985482"/>
                  <a:gd name="connsiteY3" fmla="*/ 75178 h 1712860"/>
                  <a:gd name="connsiteX4" fmla="*/ 3249160 w 6985482"/>
                  <a:gd name="connsiteY4" fmla="*/ 112444 h 1712860"/>
                  <a:gd name="connsiteX5" fmla="*/ 3234060 w 6985482"/>
                  <a:gd name="connsiteY5" fmla="*/ 154690 h 1712860"/>
                  <a:gd name="connsiteX6" fmla="*/ 3228759 w 6985482"/>
                  <a:gd name="connsiteY6" fmla="*/ 200710 h 1712860"/>
                  <a:gd name="connsiteX7" fmla="*/ 3228822 w 6985482"/>
                  <a:gd name="connsiteY7" fmla="*/ 202120 h 1712860"/>
                  <a:gd name="connsiteX8" fmla="*/ 3630129 w 6985482"/>
                  <a:gd name="connsiteY8" fmla="*/ 202120 h 1712860"/>
                  <a:gd name="connsiteX9" fmla="*/ 3630193 w 6985482"/>
                  <a:gd name="connsiteY9" fmla="*/ 200710 h 1712860"/>
                  <a:gd name="connsiteX10" fmla="*/ 3624892 w 6985482"/>
                  <a:gd name="connsiteY10" fmla="*/ 154690 h 1712860"/>
                  <a:gd name="connsiteX11" fmla="*/ 3429482 w 6985482"/>
                  <a:gd name="connsiteY11" fmla="*/ 0 h 1712860"/>
                  <a:gd name="connsiteX0" fmla="*/ 6234696 w 6985482"/>
                  <a:gd name="connsiteY0" fmla="*/ 181719 h 1692460"/>
                  <a:gd name="connsiteX1" fmla="*/ 750836 w 6985482"/>
                  <a:gd name="connsiteY1" fmla="*/ 181719 h 1692460"/>
                  <a:gd name="connsiteX2" fmla="*/ 0 w 6985482"/>
                  <a:gd name="connsiteY2" fmla="*/ 1692460 h 1692460"/>
                  <a:gd name="connsiteX3" fmla="*/ 6985482 w 6985482"/>
                  <a:gd name="connsiteY3" fmla="*/ 1692460 h 1692460"/>
                  <a:gd name="connsiteX4" fmla="*/ 6234557 w 6985482"/>
                  <a:gd name="connsiteY4" fmla="*/ 181935 h 1692460"/>
                  <a:gd name="connsiteX5" fmla="*/ 6234696 w 6985482"/>
                  <a:gd name="connsiteY5" fmla="*/ 181719 h 1692460"/>
                  <a:gd name="connsiteX0" fmla="*/ 3624892 w 6985482"/>
                  <a:gd name="connsiteY0" fmla="*/ 134289 h 1692460"/>
                  <a:gd name="connsiteX1" fmla="*/ 3341208 w 6985482"/>
                  <a:gd name="connsiteY1" fmla="*/ 0 h 1692460"/>
                  <a:gd name="connsiteX2" fmla="*/ 3303939 w 6985482"/>
                  <a:gd name="connsiteY2" fmla="*/ 23694 h 1692460"/>
                  <a:gd name="connsiteX3" fmla="*/ 3272855 w 6985482"/>
                  <a:gd name="connsiteY3" fmla="*/ 54777 h 1692460"/>
                  <a:gd name="connsiteX4" fmla="*/ 3249160 w 6985482"/>
                  <a:gd name="connsiteY4" fmla="*/ 92043 h 1692460"/>
                  <a:gd name="connsiteX5" fmla="*/ 3234060 w 6985482"/>
                  <a:gd name="connsiteY5" fmla="*/ 134289 h 1692460"/>
                  <a:gd name="connsiteX6" fmla="*/ 3228759 w 6985482"/>
                  <a:gd name="connsiteY6" fmla="*/ 180309 h 1692460"/>
                  <a:gd name="connsiteX7" fmla="*/ 3228822 w 6985482"/>
                  <a:gd name="connsiteY7" fmla="*/ 181719 h 1692460"/>
                  <a:gd name="connsiteX8" fmla="*/ 3630129 w 6985482"/>
                  <a:gd name="connsiteY8" fmla="*/ 181719 h 1692460"/>
                  <a:gd name="connsiteX9" fmla="*/ 3630193 w 6985482"/>
                  <a:gd name="connsiteY9" fmla="*/ 180309 h 1692460"/>
                  <a:gd name="connsiteX10" fmla="*/ 3624892 w 6985482"/>
                  <a:gd name="connsiteY10" fmla="*/ 134289 h 1692460"/>
                  <a:gd name="connsiteX0" fmla="*/ 6234696 w 6985482"/>
                  <a:gd name="connsiteY0" fmla="*/ 158026 h 1668767"/>
                  <a:gd name="connsiteX1" fmla="*/ 750836 w 6985482"/>
                  <a:gd name="connsiteY1" fmla="*/ 158026 h 1668767"/>
                  <a:gd name="connsiteX2" fmla="*/ 0 w 6985482"/>
                  <a:gd name="connsiteY2" fmla="*/ 1668767 h 1668767"/>
                  <a:gd name="connsiteX3" fmla="*/ 6985482 w 6985482"/>
                  <a:gd name="connsiteY3" fmla="*/ 1668767 h 1668767"/>
                  <a:gd name="connsiteX4" fmla="*/ 6234557 w 6985482"/>
                  <a:gd name="connsiteY4" fmla="*/ 158242 h 1668767"/>
                  <a:gd name="connsiteX5" fmla="*/ 6234696 w 6985482"/>
                  <a:gd name="connsiteY5" fmla="*/ 158026 h 1668767"/>
                  <a:gd name="connsiteX0" fmla="*/ 3624892 w 6985482"/>
                  <a:gd name="connsiteY0" fmla="*/ 110596 h 1668767"/>
                  <a:gd name="connsiteX1" fmla="*/ 3303939 w 6985482"/>
                  <a:gd name="connsiteY1" fmla="*/ 1 h 1668767"/>
                  <a:gd name="connsiteX2" fmla="*/ 3272855 w 6985482"/>
                  <a:gd name="connsiteY2" fmla="*/ 31084 h 1668767"/>
                  <a:gd name="connsiteX3" fmla="*/ 3249160 w 6985482"/>
                  <a:gd name="connsiteY3" fmla="*/ 68350 h 1668767"/>
                  <a:gd name="connsiteX4" fmla="*/ 3234060 w 6985482"/>
                  <a:gd name="connsiteY4" fmla="*/ 110596 h 1668767"/>
                  <a:gd name="connsiteX5" fmla="*/ 3228759 w 6985482"/>
                  <a:gd name="connsiteY5" fmla="*/ 156616 h 1668767"/>
                  <a:gd name="connsiteX6" fmla="*/ 3228822 w 6985482"/>
                  <a:gd name="connsiteY6" fmla="*/ 158026 h 1668767"/>
                  <a:gd name="connsiteX7" fmla="*/ 3630129 w 6985482"/>
                  <a:gd name="connsiteY7" fmla="*/ 158026 h 1668767"/>
                  <a:gd name="connsiteX8" fmla="*/ 3630193 w 6985482"/>
                  <a:gd name="connsiteY8" fmla="*/ 156616 h 1668767"/>
                  <a:gd name="connsiteX9" fmla="*/ 3624892 w 6985482"/>
                  <a:gd name="connsiteY9" fmla="*/ 110596 h 1668767"/>
                  <a:gd name="connsiteX0" fmla="*/ 6234696 w 6985482"/>
                  <a:gd name="connsiteY0" fmla="*/ 158024 h 1668765"/>
                  <a:gd name="connsiteX1" fmla="*/ 750836 w 6985482"/>
                  <a:gd name="connsiteY1" fmla="*/ 158024 h 1668765"/>
                  <a:gd name="connsiteX2" fmla="*/ 0 w 6985482"/>
                  <a:gd name="connsiteY2" fmla="*/ 1668765 h 1668765"/>
                  <a:gd name="connsiteX3" fmla="*/ 6985482 w 6985482"/>
                  <a:gd name="connsiteY3" fmla="*/ 1668765 h 1668765"/>
                  <a:gd name="connsiteX4" fmla="*/ 6234557 w 6985482"/>
                  <a:gd name="connsiteY4" fmla="*/ 158240 h 1668765"/>
                  <a:gd name="connsiteX5" fmla="*/ 6234696 w 6985482"/>
                  <a:gd name="connsiteY5" fmla="*/ 158024 h 1668765"/>
                  <a:gd name="connsiteX0" fmla="*/ 3624892 w 6985482"/>
                  <a:gd name="connsiteY0" fmla="*/ 110594 h 1668765"/>
                  <a:gd name="connsiteX1" fmla="*/ 3303939 w 6985482"/>
                  <a:gd name="connsiteY1" fmla="*/ -1 h 1668765"/>
                  <a:gd name="connsiteX2" fmla="*/ 3272855 w 6985482"/>
                  <a:gd name="connsiteY2" fmla="*/ 31082 h 1668765"/>
                  <a:gd name="connsiteX3" fmla="*/ 3234060 w 6985482"/>
                  <a:gd name="connsiteY3" fmla="*/ 110594 h 1668765"/>
                  <a:gd name="connsiteX4" fmla="*/ 3228759 w 6985482"/>
                  <a:gd name="connsiteY4" fmla="*/ 156614 h 1668765"/>
                  <a:gd name="connsiteX5" fmla="*/ 3228822 w 6985482"/>
                  <a:gd name="connsiteY5" fmla="*/ 158024 h 1668765"/>
                  <a:gd name="connsiteX6" fmla="*/ 3630129 w 6985482"/>
                  <a:gd name="connsiteY6" fmla="*/ 158024 h 1668765"/>
                  <a:gd name="connsiteX7" fmla="*/ 3630193 w 6985482"/>
                  <a:gd name="connsiteY7" fmla="*/ 156614 h 1668765"/>
                  <a:gd name="connsiteX8" fmla="*/ 3624892 w 6985482"/>
                  <a:gd name="connsiteY8" fmla="*/ 110594 h 1668765"/>
                  <a:gd name="connsiteX0" fmla="*/ 6234696 w 6985482"/>
                  <a:gd name="connsiteY0" fmla="*/ 158026 h 1668767"/>
                  <a:gd name="connsiteX1" fmla="*/ 750836 w 6985482"/>
                  <a:gd name="connsiteY1" fmla="*/ 158026 h 1668767"/>
                  <a:gd name="connsiteX2" fmla="*/ 0 w 6985482"/>
                  <a:gd name="connsiteY2" fmla="*/ 1668767 h 1668767"/>
                  <a:gd name="connsiteX3" fmla="*/ 6985482 w 6985482"/>
                  <a:gd name="connsiteY3" fmla="*/ 1668767 h 1668767"/>
                  <a:gd name="connsiteX4" fmla="*/ 6234557 w 6985482"/>
                  <a:gd name="connsiteY4" fmla="*/ 158242 h 1668767"/>
                  <a:gd name="connsiteX5" fmla="*/ 6234696 w 6985482"/>
                  <a:gd name="connsiteY5" fmla="*/ 158026 h 1668767"/>
                  <a:gd name="connsiteX0" fmla="*/ 3624892 w 6985482"/>
                  <a:gd name="connsiteY0" fmla="*/ 110596 h 1668767"/>
                  <a:gd name="connsiteX1" fmla="*/ 3303939 w 6985482"/>
                  <a:gd name="connsiteY1" fmla="*/ 1 h 1668767"/>
                  <a:gd name="connsiteX2" fmla="*/ 3234060 w 6985482"/>
                  <a:gd name="connsiteY2" fmla="*/ 110596 h 1668767"/>
                  <a:gd name="connsiteX3" fmla="*/ 3228759 w 6985482"/>
                  <a:gd name="connsiteY3" fmla="*/ 156616 h 1668767"/>
                  <a:gd name="connsiteX4" fmla="*/ 3228822 w 6985482"/>
                  <a:gd name="connsiteY4" fmla="*/ 158026 h 1668767"/>
                  <a:gd name="connsiteX5" fmla="*/ 3630129 w 6985482"/>
                  <a:gd name="connsiteY5" fmla="*/ 158026 h 1668767"/>
                  <a:gd name="connsiteX6" fmla="*/ 3630193 w 6985482"/>
                  <a:gd name="connsiteY6" fmla="*/ 156616 h 1668767"/>
                  <a:gd name="connsiteX7" fmla="*/ 3624892 w 6985482"/>
                  <a:gd name="connsiteY7" fmla="*/ 110596 h 1668767"/>
                  <a:gd name="connsiteX0" fmla="*/ 6234696 w 6985482"/>
                  <a:gd name="connsiteY0" fmla="*/ 47431 h 1558172"/>
                  <a:gd name="connsiteX1" fmla="*/ 750836 w 6985482"/>
                  <a:gd name="connsiteY1" fmla="*/ 47431 h 1558172"/>
                  <a:gd name="connsiteX2" fmla="*/ 0 w 6985482"/>
                  <a:gd name="connsiteY2" fmla="*/ 1558172 h 1558172"/>
                  <a:gd name="connsiteX3" fmla="*/ 6985482 w 6985482"/>
                  <a:gd name="connsiteY3" fmla="*/ 1558172 h 1558172"/>
                  <a:gd name="connsiteX4" fmla="*/ 6234557 w 6985482"/>
                  <a:gd name="connsiteY4" fmla="*/ 47647 h 1558172"/>
                  <a:gd name="connsiteX5" fmla="*/ 6234696 w 6985482"/>
                  <a:gd name="connsiteY5" fmla="*/ 47431 h 1558172"/>
                  <a:gd name="connsiteX0" fmla="*/ 3624892 w 6985482"/>
                  <a:gd name="connsiteY0" fmla="*/ 1 h 1558172"/>
                  <a:gd name="connsiteX1" fmla="*/ 3234060 w 6985482"/>
                  <a:gd name="connsiteY1" fmla="*/ 1 h 1558172"/>
                  <a:gd name="connsiteX2" fmla="*/ 3228759 w 6985482"/>
                  <a:gd name="connsiteY2" fmla="*/ 46021 h 1558172"/>
                  <a:gd name="connsiteX3" fmla="*/ 3228822 w 6985482"/>
                  <a:gd name="connsiteY3" fmla="*/ 47431 h 1558172"/>
                  <a:gd name="connsiteX4" fmla="*/ 3630129 w 6985482"/>
                  <a:gd name="connsiteY4" fmla="*/ 47431 h 1558172"/>
                  <a:gd name="connsiteX5" fmla="*/ 3630193 w 6985482"/>
                  <a:gd name="connsiteY5" fmla="*/ 46021 h 1558172"/>
                  <a:gd name="connsiteX6" fmla="*/ 3624892 w 6985482"/>
                  <a:gd name="connsiteY6" fmla="*/ 1 h 1558172"/>
                  <a:gd name="connsiteX0" fmla="*/ 6234696 w 6985482"/>
                  <a:gd name="connsiteY0" fmla="*/ 47429 h 1558170"/>
                  <a:gd name="connsiteX1" fmla="*/ 750836 w 6985482"/>
                  <a:gd name="connsiteY1" fmla="*/ 47429 h 1558170"/>
                  <a:gd name="connsiteX2" fmla="*/ 0 w 6985482"/>
                  <a:gd name="connsiteY2" fmla="*/ 1558170 h 1558170"/>
                  <a:gd name="connsiteX3" fmla="*/ 6985482 w 6985482"/>
                  <a:gd name="connsiteY3" fmla="*/ 1558170 h 1558170"/>
                  <a:gd name="connsiteX4" fmla="*/ 6234557 w 6985482"/>
                  <a:gd name="connsiteY4" fmla="*/ 47645 h 1558170"/>
                  <a:gd name="connsiteX5" fmla="*/ 6234696 w 6985482"/>
                  <a:gd name="connsiteY5" fmla="*/ 47429 h 1558170"/>
                  <a:gd name="connsiteX0" fmla="*/ 3624892 w 6985482"/>
                  <a:gd name="connsiteY0" fmla="*/ -1 h 1558170"/>
                  <a:gd name="connsiteX1" fmla="*/ 3228759 w 6985482"/>
                  <a:gd name="connsiteY1" fmla="*/ 46019 h 1558170"/>
                  <a:gd name="connsiteX2" fmla="*/ 3228822 w 6985482"/>
                  <a:gd name="connsiteY2" fmla="*/ 47429 h 1558170"/>
                  <a:gd name="connsiteX3" fmla="*/ 3630129 w 6985482"/>
                  <a:gd name="connsiteY3" fmla="*/ 47429 h 1558170"/>
                  <a:gd name="connsiteX4" fmla="*/ 3630193 w 6985482"/>
                  <a:gd name="connsiteY4" fmla="*/ 46019 h 1558170"/>
                  <a:gd name="connsiteX5" fmla="*/ 3624892 w 6985482"/>
                  <a:gd name="connsiteY5" fmla="*/ -1 h 1558170"/>
                  <a:gd name="connsiteX0" fmla="*/ 6234696 w 6985482"/>
                  <a:gd name="connsiteY0" fmla="*/ 1410 h 1512151"/>
                  <a:gd name="connsiteX1" fmla="*/ 750836 w 6985482"/>
                  <a:gd name="connsiteY1" fmla="*/ 1410 h 1512151"/>
                  <a:gd name="connsiteX2" fmla="*/ 0 w 6985482"/>
                  <a:gd name="connsiteY2" fmla="*/ 1512151 h 1512151"/>
                  <a:gd name="connsiteX3" fmla="*/ 6985482 w 6985482"/>
                  <a:gd name="connsiteY3" fmla="*/ 1512151 h 1512151"/>
                  <a:gd name="connsiteX4" fmla="*/ 6234557 w 6985482"/>
                  <a:gd name="connsiteY4" fmla="*/ 1626 h 1512151"/>
                  <a:gd name="connsiteX5" fmla="*/ 6234696 w 6985482"/>
                  <a:gd name="connsiteY5" fmla="*/ 1410 h 1512151"/>
                  <a:gd name="connsiteX0" fmla="*/ 3630193 w 6985482"/>
                  <a:gd name="connsiteY0" fmla="*/ 0 h 1512151"/>
                  <a:gd name="connsiteX1" fmla="*/ 3228759 w 6985482"/>
                  <a:gd name="connsiteY1" fmla="*/ 0 h 1512151"/>
                  <a:gd name="connsiteX2" fmla="*/ 3228822 w 6985482"/>
                  <a:gd name="connsiteY2" fmla="*/ 1410 h 1512151"/>
                  <a:gd name="connsiteX3" fmla="*/ 3630129 w 6985482"/>
                  <a:gd name="connsiteY3" fmla="*/ 1410 h 1512151"/>
                  <a:gd name="connsiteX4" fmla="*/ 3630193 w 6985482"/>
                  <a:gd name="connsiteY4" fmla="*/ 0 h 1512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5482" h="1512151">
                    <a:moveTo>
                      <a:pt x="6234696" y="1410"/>
                    </a:moveTo>
                    <a:lnTo>
                      <a:pt x="750836" y="1410"/>
                    </a:lnTo>
                    <a:lnTo>
                      <a:pt x="0" y="1512151"/>
                    </a:lnTo>
                    <a:lnTo>
                      <a:pt x="6985482" y="1512151"/>
                    </a:lnTo>
                    <a:lnTo>
                      <a:pt x="6234557" y="1626"/>
                    </a:lnTo>
                    <a:cubicBezTo>
                      <a:pt x="6234603" y="1554"/>
                      <a:pt x="6234650" y="1482"/>
                      <a:pt x="6234696" y="1410"/>
                    </a:cubicBezTo>
                    <a:close/>
                  </a:path>
                  <a:path w="6985482" h="1512151">
                    <a:moveTo>
                      <a:pt x="3630193" y="0"/>
                    </a:moveTo>
                    <a:lnTo>
                      <a:pt x="3228759" y="0"/>
                    </a:lnTo>
                    <a:lnTo>
                      <a:pt x="3228822" y="1410"/>
                    </a:lnTo>
                    <a:lnTo>
                      <a:pt x="3630129" y="1410"/>
                    </a:lnTo>
                    <a:cubicBezTo>
                      <a:pt x="3630150" y="940"/>
                      <a:pt x="3630172" y="470"/>
                      <a:pt x="3630193" y="0"/>
                    </a:cubicBezTo>
                    <a:close/>
                  </a:path>
                </a:pathLst>
              </a:custGeom>
              <a:solidFill>
                <a:srgbClr val="024C90"/>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sp>
            <p:nvSpPr>
              <p:cNvPr id="21" name="bk object 18">
                <a:extLst>
                  <a:ext uri="{FF2B5EF4-FFF2-40B4-BE49-F238E27FC236}">
                    <a16:creationId xmlns:a16="http://schemas.microsoft.com/office/drawing/2014/main" id="{9C235B31-645D-3283-5AB2-B51E461FDD8C}"/>
                  </a:ext>
                </a:extLst>
              </p:cNvPr>
              <p:cNvSpPr>
                <a:spLocks/>
              </p:cNvSpPr>
              <p:nvPr/>
            </p:nvSpPr>
            <p:spPr bwMode="auto">
              <a:xfrm>
                <a:off x="6413201" y="4390320"/>
                <a:ext cx="943761" cy="1459497"/>
              </a:xfrm>
              <a:custGeom>
                <a:avLst/>
                <a:gdLst>
                  <a:gd name="T0" fmla="*/ 387527 w 1684654"/>
                  <a:gd name="T1" fmla="*/ 268401 h 2553334"/>
                  <a:gd name="T2" fmla="*/ 341842 w 1684654"/>
                  <a:gd name="T3" fmla="*/ 276089 h 2553334"/>
                  <a:gd name="T4" fmla="*/ 300436 w 1684654"/>
                  <a:gd name="T5" fmla="*/ 293365 h 2553334"/>
                  <a:gd name="T6" fmla="*/ 264452 w 1684654"/>
                  <a:gd name="T7" fmla="*/ 318965 h 2553334"/>
                  <a:gd name="T8" fmla="*/ 235027 w 1684654"/>
                  <a:gd name="T9" fmla="*/ 351622 h 2553334"/>
                  <a:gd name="T10" fmla="*/ 213304 w 1684654"/>
                  <a:gd name="T11" fmla="*/ 390072 h 2553334"/>
                  <a:gd name="T12" fmla="*/ 200423 w 1684654"/>
                  <a:gd name="T13" fmla="*/ 433048 h 2553334"/>
                  <a:gd name="T14" fmla="*/ 197523 w 1684654"/>
                  <a:gd name="T15" fmla="*/ 479285 h 2553334"/>
                  <a:gd name="T16" fmla="*/ 205586 w 1684654"/>
                  <a:gd name="T17" fmla="*/ 526144 h 2553334"/>
                  <a:gd name="T18" fmla="*/ 223759 w 1684654"/>
                  <a:gd name="T19" fmla="*/ 568421 h 2553334"/>
                  <a:gd name="T20" fmla="*/ 250645 w 1684654"/>
                  <a:gd name="T21" fmla="*/ 604909 h 2553334"/>
                  <a:gd name="T22" fmla="*/ 284848 w 1684654"/>
                  <a:gd name="T23" fmla="*/ 634403 h 2553334"/>
                  <a:gd name="T24" fmla="*/ 1181 w 1684654"/>
                  <a:gd name="T25" fmla="*/ 1041107 h 2553334"/>
                  <a:gd name="T26" fmla="*/ 0 w 1684654"/>
                  <a:gd name="T27" fmla="*/ 1042695 h 2553334"/>
                  <a:gd name="T28" fmla="*/ 698 w 1684654"/>
                  <a:gd name="T29" fmla="*/ 1042695 h 2553334"/>
                  <a:gd name="T30" fmla="*/ 751243 w 1684654"/>
                  <a:gd name="T31" fmla="*/ 2553016 h 2553334"/>
                  <a:gd name="T32" fmla="*/ 1670849 w 1684654"/>
                  <a:gd name="T33" fmla="*/ 1258214 h 2553334"/>
                  <a:gd name="T34" fmla="*/ 1684158 w 1684654"/>
                  <a:gd name="T35" fmla="*/ 1239113 h 2553334"/>
                  <a:gd name="T36" fmla="*/ 963249 w 1684654"/>
                  <a:gd name="T37" fmla="*/ 305434 h 2553334"/>
                  <a:gd name="T38" fmla="*/ 514286 w 1684654"/>
                  <a:gd name="T39" fmla="*/ 305434 h 2553334"/>
                  <a:gd name="T40" fmla="*/ 486072 w 1684654"/>
                  <a:gd name="T41" fmla="*/ 288593 h 2553334"/>
                  <a:gd name="T42" fmla="*/ 455202 w 1684654"/>
                  <a:gd name="T43" fmla="*/ 276478 h 2553334"/>
                  <a:gd name="T44" fmla="*/ 422185 w 1684654"/>
                  <a:gd name="T45" fmla="*/ 269584 h 2553334"/>
                  <a:gd name="T46" fmla="*/ 387527 w 1684654"/>
                  <a:gd name="T47" fmla="*/ 268401 h 2553334"/>
                  <a:gd name="T48" fmla="*/ 727595 w 1684654"/>
                  <a:gd name="T49" fmla="*/ 0 h 2553334"/>
                  <a:gd name="T50" fmla="*/ 714082 w 1684654"/>
                  <a:gd name="T51" fmla="*/ 19088 h 2553334"/>
                  <a:gd name="T52" fmla="*/ 514286 w 1684654"/>
                  <a:gd name="T53" fmla="*/ 305434 h 2553334"/>
                  <a:gd name="T54" fmla="*/ 963249 w 1684654"/>
                  <a:gd name="T55" fmla="*/ 305434 h 2553334"/>
                  <a:gd name="T56" fmla="*/ 727595 w 1684654"/>
                  <a:gd name="T57" fmla="*/ 0 h 25533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connsiteX0" fmla="*/ 387527 w 1684145"/>
                  <a:gd name="connsiteY0" fmla="*/ 268401 h 2553003"/>
                  <a:gd name="connsiteX1" fmla="*/ 341842 w 1684145"/>
                  <a:gd name="connsiteY1" fmla="*/ 276089 h 2553003"/>
                  <a:gd name="connsiteX2" fmla="*/ 300436 w 1684145"/>
                  <a:gd name="connsiteY2" fmla="*/ 293365 h 2553003"/>
                  <a:gd name="connsiteX3" fmla="*/ 264452 w 1684145"/>
                  <a:gd name="connsiteY3" fmla="*/ 318965 h 2553003"/>
                  <a:gd name="connsiteX4" fmla="*/ 213304 w 1684145"/>
                  <a:gd name="connsiteY4" fmla="*/ 390072 h 2553003"/>
                  <a:gd name="connsiteX5" fmla="*/ 200423 w 1684145"/>
                  <a:gd name="connsiteY5" fmla="*/ 433048 h 2553003"/>
                  <a:gd name="connsiteX6" fmla="*/ 197523 w 1684145"/>
                  <a:gd name="connsiteY6" fmla="*/ 479285 h 2553003"/>
                  <a:gd name="connsiteX7" fmla="*/ 205586 w 1684145"/>
                  <a:gd name="connsiteY7" fmla="*/ 526144 h 2553003"/>
                  <a:gd name="connsiteX8" fmla="*/ 223759 w 1684145"/>
                  <a:gd name="connsiteY8" fmla="*/ 568421 h 2553003"/>
                  <a:gd name="connsiteX9" fmla="*/ 250645 w 1684145"/>
                  <a:gd name="connsiteY9" fmla="*/ 604909 h 2553003"/>
                  <a:gd name="connsiteX10" fmla="*/ 284848 w 1684145"/>
                  <a:gd name="connsiteY10" fmla="*/ 634403 h 2553003"/>
                  <a:gd name="connsiteX11" fmla="*/ 1181 w 1684145"/>
                  <a:gd name="connsiteY11" fmla="*/ 1041107 h 2553003"/>
                  <a:gd name="connsiteX12" fmla="*/ 0 w 1684145"/>
                  <a:gd name="connsiteY12" fmla="*/ 1042695 h 2553003"/>
                  <a:gd name="connsiteX13" fmla="*/ 698 w 1684145"/>
                  <a:gd name="connsiteY13" fmla="*/ 1042695 h 2553003"/>
                  <a:gd name="connsiteX14" fmla="*/ 751243 w 1684145"/>
                  <a:gd name="connsiteY14" fmla="*/ 2553004 h 2553003"/>
                  <a:gd name="connsiteX15" fmla="*/ 1670837 w 1684145"/>
                  <a:gd name="connsiteY15" fmla="*/ 1258214 h 2553003"/>
                  <a:gd name="connsiteX16" fmla="*/ 1684146 w 1684145"/>
                  <a:gd name="connsiteY16" fmla="*/ 1239113 h 2553003"/>
                  <a:gd name="connsiteX17" fmla="*/ 963237 w 1684145"/>
                  <a:gd name="connsiteY17" fmla="*/ 305434 h 2553003"/>
                  <a:gd name="connsiteX18" fmla="*/ 514286 w 1684145"/>
                  <a:gd name="connsiteY18" fmla="*/ 305434 h 2553003"/>
                  <a:gd name="connsiteX19" fmla="*/ 486072 w 1684145"/>
                  <a:gd name="connsiteY19" fmla="*/ 288593 h 2553003"/>
                  <a:gd name="connsiteX20" fmla="*/ 455202 w 1684145"/>
                  <a:gd name="connsiteY20" fmla="*/ 276478 h 2553003"/>
                  <a:gd name="connsiteX21" fmla="*/ 422185 w 1684145"/>
                  <a:gd name="connsiteY21" fmla="*/ 269584 h 2553003"/>
                  <a:gd name="connsiteX22" fmla="*/ 387527 w 1684145"/>
                  <a:gd name="connsiteY22" fmla="*/ 268401 h 2553003"/>
                  <a:gd name="connsiteX0" fmla="*/ 727595 w 1684145"/>
                  <a:gd name="connsiteY0" fmla="*/ 0 h 2553003"/>
                  <a:gd name="connsiteX1" fmla="*/ 714082 w 1684145"/>
                  <a:gd name="connsiteY1" fmla="*/ 19088 h 2553003"/>
                  <a:gd name="connsiteX2" fmla="*/ 514286 w 1684145"/>
                  <a:gd name="connsiteY2" fmla="*/ 305434 h 2553003"/>
                  <a:gd name="connsiteX3" fmla="*/ 963237 w 1684145"/>
                  <a:gd name="connsiteY3" fmla="*/ 305434 h 2553003"/>
                  <a:gd name="connsiteX4" fmla="*/ 727595 w 1684145"/>
                  <a:gd name="connsiteY4" fmla="*/ 0 h 2553003"/>
                  <a:gd name="connsiteX0" fmla="*/ 387527 w 1684147"/>
                  <a:gd name="connsiteY0" fmla="*/ 268401 h 2553005"/>
                  <a:gd name="connsiteX1" fmla="*/ 341842 w 1684147"/>
                  <a:gd name="connsiteY1" fmla="*/ 276089 h 2553005"/>
                  <a:gd name="connsiteX2" fmla="*/ 300436 w 1684147"/>
                  <a:gd name="connsiteY2" fmla="*/ 293365 h 2553005"/>
                  <a:gd name="connsiteX3" fmla="*/ 213304 w 1684147"/>
                  <a:gd name="connsiteY3" fmla="*/ 390072 h 2553005"/>
                  <a:gd name="connsiteX4" fmla="*/ 200423 w 1684147"/>
                  <a:gd name="connsiteY4" fmla="*/ 433048 h 2553005"/>
                  <a:gd name="connsiteX5" fmla="*/ 197523 w 1684147"/>
                  <a:gd name="connsiteY5" fmla="*/ 479285 h 2553005"/>
                  <a:gd name="connsiteX6" fmla="*/ 205586 w 1684147"/>
                  <a:gd name="connsiteY6" fmla="*/ 526144 h 2553005"/>
                  <a:gd name="connsiteX7" fmla="*/ 223759 w 1684147"/>
                  <a:gd name="connsiteY7" fmla="*/ 568421 h 2553005"/>
                  <a:gd name="connsiteX8" fmla="*/ 250645 w 1684147"/>
                  <a:gd name="connsiteY8" fmla="*/ 604909 h 2553005"/>
                  <a:gd name="connsiteX9" fmla="*/ 284848 w 1684147"/>
                  <a:gd name="connsiteY9" fmla="*/ 634403 h 2553005"/>
                  <a:gd name="connsiteX10" fmla="*/ 1181 w 1684147"/>
                  <a:gd name="connsiteY10" fmla="*/ 1041107 h 2553005"/>
                  <a:gd name="connsiteX11" fmla="*/ 0 w 1684147"/>
                  <a:gd name="connsiteY11" fmla="*/ 1042695 h 2553005"/>
                  <a:gd name="connsiteX12" fmla="*/ 698 w 1684147"/>
                  <a:gd name="connsiteY12" fmla="*/ 1042695 h 2553005"/>
                  <a:gd name="connsiteX13" fmla="*/ 751243 w 1684147"/>
                  <a:gd name="connsiteY13" fmla="*/ 2553004 h 2553005"/>
                  <a:gd name="connsiteX14" fmla="*/ 1670837 w 1684147"/>
                  <a:gd name="connsiteY14" fmla="*/ 1258214 h 2553005"/>
                  <a:gd name="connsiteX15" fmla="*/ 1684146 w 1684147"/>
                  <a:gd name="connsiteY15" fmla="*/ 1239113 h 2553005"/>
                  <a:gd name="connsiteX16" fmla="*/ 963237 w 1684147"/>
                  <a:gd name="connsiteY16" fmla="*/ 305434 h 2553005"/>
                  <a:gd name="connsiteX17" fmla="*/ 514286 w 1684147"/>
                  <a:gd name="connsiteY17" fmla="*/ 305434 h 2553005"/>
                  <a:gd name="connsiteX18" fmla="*/ 486072 w 1684147"/>
                  <a:gd name="connsiteY18" fmla="*/ 288593 h 2553005"/>
                  <a:gd name="connsiteX19" fmla="*/ 455202 w 1684147"/>
                  <a:gd name="connsiteY19" fmla="*/ 276478 h 2553005"/>
                  <a:gd name="connsiteX20" fmla="*/ 422185 w 1684147"/>
                  <a:gd name="connsiteY20" fmla="*/ 269584 h 2553005"/>
                  <a:gd name="connsiteX21" fmla="*/ 387527 w 1684147"/>
                  <a:gd name="connsiteY21" fmla="*/ 268401 h 2553005"/>
                  <a:gd name="connsiteX0" fmla="*/ 727595 w 1684147"/>
                  <a:gd name="connsiteY0" fmla="*/ 0 h 2553005"/>
                  <a:gd name="connsiteX1" fmla="*/ 714082 w 1684147"/>
                  <a:gd name="connsiteY1" fmla="*/ 19088 h 2553005"/>
                  <a:gd name="connsiteX2" fmla="*/ 514286 w 1684147"/>
                  <a:gd name="connsiteY2" fmla="*/ 305434 h 2553005"/>
                  <a:gd name="connsiteX3" fmla="*/ 963237 w 1684147"/>
                  <a:gd name="connsiteY3" fmla="*/ 305434 h 2553005"/>
                  <a:gd name="connsiteX4" fmla="*/ 727595 w 1684147"/>
                  <a:gd name="connsiteY4" fmla="*/ 0 h 2553005"/>
                  <a:gd name="connsiteX0" fmla="*/ 422185 w 1684145"/>
                  <a:gd name="connsiteY0" fmla="*/ 269584 h 2553003"/>
                  <a:gd name="connsiteX1" fmla="*/ 341842 w 1684145"/>
                  <a:gd name="connsiteY1" fmla="*/ 276089 h 2553003"/>
                  <a:gd name="connsiteX2" fmla="*/ 300436 w 1684145"/>
                  <a:gd name="connsiteY2" fmla="*/ 293365 h 2553003"/>
                  <a:gd name="connsiteX3" fmla="*/ 213304 w 1684145"/>
                  <a:gd name="connsiteY3" fmla="*/ 390072 h 2553003"/>
                  <a:gd name="connsiteX4" fmla="*/ 200423 w 1684145"/>
                  <a:gd name="connsiteY4" fmla="*/ 433048 h 2553003"/>
                  <a:gd name="connsiteX5" fmla="*/ 197523 w 1684145"/>
                  <a:gd name="connsiteY5" fmla="*/ 479285 h 2553003"/>
                  <a:gd name="connsiteX6" fmla="*/ 205586 w 1684145"/>
                  <a:gd name="connsiteY6" fmla="*/ 526144 h 2553003"/>
                  <a:gd name="connsiteX7" fmla="*/ 223759 w 1684145"/>
                  <a:gd name="connsiteY7" fmla="*/ 568421 h 2553003"/>
                  <a:gd name="connsiteX8" fmla="*/ 250645 w 1684145"/>
                  <a:gd name="connsiteY8" fmla="*/ 604909 h 2553003"/>
                  <a:gd name="connsiteX9" fmla="*/ 284848 w 1684145"/>
                  <a:gd name="connsiteY9" fmla="*/ 634403 h 2553003"/>
                  <a:gd name="connsiteX10" fmla="*/ 1181 w 1684145"/>
                  <a:gd name="connsiteY10" fmla="*/ 1041107 h 2553003"/>
                  <a:gd name="connsiteX11" fmla="*/ 0 w 1684145"/>
                  <a:gd name="connsiteY11" fmla="*/ 1042695 h 2553003"/>
                  <a:gd name="connsiteX12" fmla="*/ 698 w 1684145"/>
                  <a:gd name="connsiteY12" fmla="*/ 1042695 h 2553003"/>
                  <a:gd name="connsiteX13" fmla="*/ 751243 w 1684145"/>
                  <a:gd name="connsiteY13" fmla="*/ 2553004 h 2553003"/>
                  <a:gd name="connsiteX14" fmla="*/ 1670837 w 1684145"/>
                  <a:gd name="connsiteY14" fmla="*/ 1258214 h 2553003"/>
                  <a:gd name="connsiteX15" fmla="*/ 1684146 w 1684145"/>
                  <a:gd name="connsiteY15" fmla="*/ 1239113 h 2553003"/>
                  <a:gd name="connsiteX16" fmla="*/ 963237 w 1684145"/>
                  <a:gd name="connsiteY16" fmla="*/ 305434 h 2553003"/>
                  <a:gd name="connsiteX17" fmla="*/ 514286 w 1684145"/>
                  <a:gd name="connsiteY17" fmla="*/ 305434 h 2553003"/>
                  <a:gd name="connsiteX18" fmla="*/ 486072 w 1684145"/>
                  <a:gd name="connsiteY18" fmla="*/ 288593 h 2553003"/>
                  <a:gd name="connsiteX19" fmla="*/ 455202 w 1684145"/>
                  <a:gd name="connsiteY19" fmla="*/ 276478 h 2553003"/>
                  <a:gd name="connsiteX20" fmla="*/ 422185 w 1684145"/>
                  <a:gd name="connsiteY20" fmla="*/ 269584 h 2553003"/>
                  <a:gd name="connsiteX0" fmla="*/ 727595 w 1684145"/>
                  <a:gd name="connsiteY0" fmla="*/ 0 h 2553003"/>
                  <a:gd name="connsiteX1" fmla="*/ 714082 w 1684145"/>
                  <a:gd name="connsiteY1" fmla="*/ 19088 h 2553003"/>
                  <a:gd name="connsiteX2" fmla="*/ 514286 w 1684145"/>
                  <a:gd name="connsiteY2" fmla="*/ 305434 h 2553003"/>
                  <a:gd name="connsiteX3" fmla="*/ 963237 w 1684145"/>
                  <a:gd name="connsiteY3" fmla="*/ 305434 h 2553003"/>
                  <a:gd name="connsiteX4" fmla="*/ 727595 w 1684145"/>
                  <a:gd name="connsiteY4" fmla="*/ 0 h 2553003"/>
                  <a:gd name="connsiteX0" fmla="*/ 422185 w 1684147"/>
                  <a:gd name="connsiteY0" fmla="*/ 269584 h 2553005"/>
                  <a:gd name="connsiteX1" fmla="*/ 341842 w 1684147"/>
                  <a:gd name="connsiteY1" fmla="*/ 276089 h 2553005"/>
                  <a:gd name="connsiteX2" fmla="*/ 300436 w 1684147"/>
                  <a:gd name="connsiteY2" fmla="*/ 293365 h 2553005"/>
                  <a:gd name="connsiteX3" fmla="*/ 213304 w 1684147"/>
                  <a:gd name="connsiteY3" fmla="*/ 390072 h 2553005"/>
                  <a:gd name="connsiteX4" fmla="*/ 200423 w 1684147"/>
                  <a:gd name="connsiteY4" fmla="*/ 433048 h 2553005"/>
                  <a:gd name="connsiteX5" fmla="*/ 197523 w 1684147"/>
                  <a:gd name="connsiteY5" fmla="*/ 479285 h 2553005"/>
                  <a:gd name="connsiteX6" fmla="*/ 223759 w 1684147"/>
                  <a:gd name="connsiteY6" fmla="*/ 568421 h 2553005"/>
                  <a:gd name="connsiteX7" fmla="*/ 250645 w 1684147"/>
                  <a:gd name="connsiteY7" fmla="*/ 604909 h 2553005"/>
                  <a:gd name="connsiteX8" fmla="*/ 284848 w 1684147"/>
                  <a:gd name="connsiteY8" fmla="*/ 634403 h 2553005"/>
                  <a:gd name="connsiteX9" fmla="*/ 1181 w 1684147"/>
                  <a:gd name="connsiteY9" fmla="*/ 1041107 h 2553005"/>
                  <a:gd name="connsiteX10" fmla="*/ 0 w 1684147"/>
                  <a:gd name="connsiteY10" fmla="*/ 1042695 h 2553005"/>
                  <a:gd name="connsiteX11" fmla="*/ 698 w 1684147"/>
                  <a:gd name="connsiteY11" fmla="*/ 1042695 h 2553005"/>
                  <a:gd name="connsiteX12" fmla="*/ 751243 w 1684147"/>
                  <a:gd name="connsiteY12" fmla="*/ 2553004 h 2553005"/>
                  <a:gd name="connsiteX13" fmla="*/ 1670837 w 1684147"/>
                  <a:gd name="connsiteY13" fmla="*/ 1258214 h 2553005"/>
                  <a:gd name="connsiteX14" fmla="*/ 1684146 w 1684147"/>
                  <a:gd name="connsiteY14" fmla="*/ 1239113 h 2553005"/>
                  <a:gd name="connsiteX15" fmla="*/ 963237 w 1684147"/>
                  <a:gd name="connsiteY15" fmla="*/ 305434 h 2553005"/>
                  <a:gd name="connsiteX16" fmla="*/ 514286 w 1684147"/>
                  <a:gd name="connsiteY16" fmla="*/ 305434 h 2553005"/>
                  <a:gd name="connsiteX17" fmla="*/ 486072 w 1684147"/>
                  <a:gd name="connsiteY17" fmla="*/ 288593 h 2553005"/>
                  <a:gd name="connsiteX18" fmla="*/ 455202 w 1684147"/>
                  <a:gd name="connsiteY18" fmla="*/ 276478 h 2553005"/>
                  <a:gd name="connsiteX19" fmla="*/ 422185 w 1684147"/>
                  <a:gd name="connsiteY19" fmla="*/ 269584 h 2553005"/>
                  <a:gd name="connsiteX0" fmla="*/ 727595 w 1684147"/>
                  <a:gd name="connsiteY0" fmla="*/ 0 h 2553005"/>
                  <a:gd name="connsiteX1" fmla="*/ 714082 w 1684147"/>
                  <a:gd name="connsiteY1" fmla="*/ 19088 h 2553005"/>
                  <a:gd name="connsiteX2" fmla="*/ 514286 w 1684147"/>
                  <a:gd name="connsiteY2" fmla="*/ 305434 h 2553005"/>
                  <a:gd name="connsiteX3" fmla="*/ 963237 w 1684147"/>
                  <a:gd name="connsiteY3" fmla="*/ 305434 h 2553005"/>
                  <a:gd name="connsiteX4" fmla="*/ 727595 w 1684147"/>
                  <a:gd name="connsiteY4" fmla="*/ 0 h 2553005"/>
                  <a:gd name="connsiteX0" fmla="*/ 422185 w 1684145"/>
                  <a:gd name="connsiteY0" fmla="*/ 269584 h 2553003"/>
                  <a:gd name="connsiteX1" fmla="*/ 341842 w 1684145"/>
                  <a:gd name="connsiteY1" fmla="*/ 276089 h 2553003"/>
                  <a:gd name="connsiteX2" fmla="*/ 300436 w 1684145"/>
                  <a:gd name="connsiteY2" fmla="*/ 293365 h 2553003"/>
                  <a:gd name="connsiteX3" fmla="*/ 213304 w 1684145"/>
                  <a:gd name="connsiteY3" fmla="*/ 390072 h 2553003"/>
                  <a:gd name="connsiteX4" fmla="*/ 200423 w 1684145"/>
                  <a:gd name="connsiteY4" fmla="*/ 433048 h 2553003"/>
                  <a:gd name="connsiteX5" fmla="*/ 223759 w 1684145"/>
                  <a:gd name="connsiteY5" fmla="*/ 568421 h 2553003"/>
                  <a:gd name="connsiteX6" fmla="*/ 250645 w 1684145"/>
                  <a:gd name="connsiteY6" fmla="*/ 604909 h 2553003"/>
                  <a:gd name="connsiteX7" fmla="*/ 284848 w 1684145"/>
                  <a:gd name="connsiteY7" fmla="*/ 634403 h 2553003"/>
                  <a:gd name="connsiteX8" fmla="*/ 1181 w 1684145"/>
                  <a:gd name="connsiteY8" fmla="*/ 1041107 h 2553003"/>
                  <a:gd name="connsiteX9" fmla="*/ 0 w 1684145"/>
                  <a:gd name="connsiteY9" fmla="*/ 1042695 h 2553003"/>
                  <a:gd name="connsiteX10" fmla="*/ 698 w 1684145"/>
                  <a:gd name="connsiteY10" fmla="*/ 1042695 h 2553003"/>
                  <a:gd name="connsiteX11" fmla="*/ 751243 w 1684145"/>
                  <a:gd name="connsiteY11" fmla="*/ 2553004 h 2553003"/>
                  <a:gd name="connsiteX12" fmla="*/ 1670837 w 1684145"/>
                  <a:gd name="connsiteY12" fmla="*/ 1258214 h 2553003"/>
                  <a:gd name="connsiteX13" fmla="*/ 1684146 w 1684145"/>
                  <a:gd name="connsiteY13" fmla="*/ 1239113 h 2553003"/>
                  <a:gd name="connsiteX14" fmla="*/ 963237 w 1684145"/>
                  <a:gd name="connsiteY14" fmla="*/ 305434 h 2553003"/>
                  <a:gd name="connsiteX15" fmla="*/ 514286 w 1684145"/>
                  <a:gd name="connsiteY15" fmla="*/ 305434 h 2553003"/>
                  <a:gd name="connsiteX16" fmla="*/ 486072 w 1684145"/>
                  <a:gd name="connsiteY16" fmla="*/ 288593 h 2553003"/>
                  <a:gd name="connsiteX17" fmla="*/ 455202 w 1684145"/>
                  <a:gd name="connsiteY17" fmla="*/ 276478 h 2553003"/>
                  <a:gd name="connsiteX18" fmla="*/ 422185 w 1684145"/>
                  <a:gd name="connsiteY18" fmla="*/ 269584 h 2553003"/>
                  <a:gd name="connsiteX0" fmla="*/ 727595 w 1684145"/>
                  <a:gd name="connsiteY0" fmla="*/ 0 h 2553003"/>
                  <a:gd name="connsiteX1" fmla="*/ 714082 w 1684145"/>
                  <a:gd name="connsiteY1" fmla="*/ 19088 h 2553003"/>
                  <a:gd name="connsiteX2" fmla="*/ 514286 w 1684145"/>
                  <a:gd name="connsiteY2" fmla="*/ 305434 h 2553003"/>
                  <a:gd name="connsiteX3" fmla="*/ 963237 w 1684145"/>
                  <a:gd name="connsiteY3" fmla="*/ 305434 h 2553003"/>
                  <a:gd name="connsiteX4" fmla="*/ 727595 w 1684145"/>
                  <a:gd name="connsiteY4" fmla="*/ 0 h 2553003"/>
                  <a:gd name="connsiteX0" fmla="*/ 422185 w 1684147"/>
                  <a:gd name="connsiteY0" fmla="*/ 269584 h 2553005"/>
                  <a:gd name="connsiteX1" fmla="*/ 341842 w 1684147"/>
                  <a:gd name="connsiteY1" fmla="*/ 276089 h 2553005"/>
                  <a:gd name="connsiteX2" fmla="*/ 300436 w 1684147"/>
                  <a:gd name="connsiteY2" fmla="*/ 293365 h 2553005"/>
                  <a:gd name="connsiteX3" fmla="*/ 213304 w 1684147"/>
                  <a:gd name="connsiteY3" fmla="*/ 390072 h 2553005"/>
                  <a:gd name="connsiteX4" fmla="*/ 223759 w 1684147"/>
                  <a:gd name="connsiteY4" fmla="*/ 568421 h 2553005"/>
                  <a:gd name="connsiteX5" fmla="*/ 250645 w 1684147"/>
                  <a:gd name="connsiteY5" fmla="*/ 604909 h 2553005"/>
                  <a:gd name="connsiteX6" fmla="*/ 284848 w 1684147"/>
                  <a:gd name="connsiteY6" fmla="*/ 634403 h 2553005"/>
                  <a:gd name="connsiteX7" fmla="*/ 1181 w 1684147"/>
                  <a:gd name="connsiteY7" fmla="*/ 1041107 h 2553005"/>
                  <a:gd name="connsiteX8" fmla="*/ 0 w 1684147"/>
                  <a:gd name="connsiteY8" fmla="*/ 1042695 h 2553005"/>
                  <a:gd name="connsiteX9" fmla="*/ 698 w 1684147"/>
                  <a:gd name="connsiteY9" fmla="*/ 1042695 h 2553005"/>
                  <a:gd name="connsiteX10" fmla="*/ 751243 w 1684147"/>
                  <a:gd name="connsiteY10" fmla="*/ 2553004 h 2553005"/>
                  <a:gd name="connsiteX11" fmla="*/ 1670837 w 1684147"/>
                  <a:gd name="connsiteY11" fmla="*/ 1258214 h 2553005"/>
                  <a:gd name="connsiteX12" fmla="*/ 1684146 w 1684147"/>
                  <a:gd name="connsiteY12" fmla="*/ 1239113 h 2553005"/>
                  <a:gd name="connsiteX13" fmla="*/ 963237 w 1684147"/>
                  <a:gd name="connsiteY13" fmla="*/ 305434 h 2553005"/>
                  <a:gd name="connsiteX14" fmla="*/ 514286 w 1684147"/>
                  <a:gd name="connsiteY14" fmla="*/ 305434 h 2553005"/>
                  <a:gd name="connsiteX15" fmla="*/ 486072 w 1684147"/>
                  <a:gd name="connsiteY15" fmla="*/ 288593 h 2553005"/>
                  <a:gd name="connsiteX16" fmla="*/ 455202 w 1684147"/>
                  <a:gd name="connsiteY16" fmla="*/ 276478 h 2553005"/>
                  <a:gd name="connsiteX17" fmla="*/ 422185 w 1684147"/>
                  <a:gd name="connsiteY17" fmla="*/ 269584 h 2553005"/>
                  <a:gd name="connsiteX0" fmla="*/ 727595 w 1684147"/>
                  <a:gd name="connsiteY0" fmla="*/ 0 h 2553005"/>
                  <a:gd name="connsiteX1" fmla="*/ 714082 w 1684147"/>
                  <a:gd name="connsiteY1" fmla="*/ 19088 h 2553005"/>
                  <a:gd name="connsiteX2" fmla="*/ 514286 w 1684147"/>
                  <a:gd name="connsiteY2" fmla="*/ 305434 h 2553005"/>
                  <a:gd name="connsiteX3" fmla="*/ 963237 w 1684147"/>
                  <a:gd name="connsiteY3" fmla="*/ 305434 h 2553005"/>
                  <a:gd name="connsiteX4" fmla="*/ 727595 w 1684147"/>
                  <a:gd name="connsiteY4" fmla="*/ 0 h 2553005"/>
                  <a:gd name="connsiteX0" fmla="*/ 422185 w 1684145"/>
                  <a:gd name="connsiteY0" fmla="*/ 269584 h 2553003"/>
                  <a:gd name="connsiteX1" fmla="*/ 341842 w 1684145"/>
                  <a:gd name="connsiteY1" fmla="*/ 276089 h 2553003"/>
                  <a:gd name="connsiteX2" fmla="*/ 300436 w 1684145"/>
                  <a:gd name="connsiteY2" fmla="*/ 293365 h 2553003"/>
                  <a:gd name="connsiteX3" fmla="*/ 223759 w 1684145"/>
                  <a:gd name="connsiteY3" fmla="*/ 568421 h 2553003"/>
                  <a:gd name="connsiteX4" fmla="*/ 250645 w 1684145"/>
                  <a:gd name="connsiteY4" fmla="*/ 604909 h 2553003"/>
                  <a:gd name="connsiteX5" fmla="*/ 284848 w 1684145"/>
                  <a:gd name="connsiteY5" fmla="*/ 634403 h 2553003"/>
                  <a:gd name="connsiteX6" fmla="*/ 1181 w 1684145"/>
                  <a:gd name="connsiteY6" fmla="*/ 1041107 h 2553003"/>
                  <a:gd name="connsiteX7" fmla="*/ 0 w 1684145"/>
                  <a:gd name="connsiteY7" fmla="*/ 1042695 h 2553003"/>
                  <a:gd name="connsiteX8" fmla="*/ 698 w 1684145"/>
                  <a:gd name="connsiteY8" fmla="*/ 1042695 h 2553003"/>
                  <a:gd name="connsiteX9" fmla="*/ 751243 w 1684145"/>
                  <a:gd name="connsiteY9" fmla="*/ 2553004 h 2553003"/>
                  <a:gd name="connsiteX10" fmla="*/ 1670837 w 1684145"/>
                  <a:gd name="connsiteY10" fmla="*/ 1258214 h 2553003"/>
                  <a:gd name="connsiteX11" fmla="*/ 1684146 w 1684145"/>
                  <a:gd name="connsiteY11" fmla="*/ 1239113 h 2553003"/>
                  <a:gd name="connsiteX12" fmla="*/ 963237 w 1684145"/>
                  <a:gd name="connsiteY12" fmla="*/ 305434 h 2553003"/>
                  <a:gd name="connsiteX13" fmla="*/ 514286 w 1684145"/>
                  <a:gd name="connsiteY13" fmla="*/ 305434 h 2553003"/>
                  <a:gd name="connsiteX14" fmla="*/ 486072 w 1684145"/>
                  <a:gd name="connsiteY14" fmla="*/ 288593 h 2553003"/>
                  <a:gd name="connsiteX15" fmla="*/ 455202 w 1684145"/>
                  <a:gd name="connsiteY15" fmla="*/ 276478 h 2553003"/>
                  <a:gd name="connsiteX16" fmla="*/ 422185 w 1684145"/>
                  <a:gd name="connsiteY16" fmla="*/ 269584 h 2553003"/>
                  <a:gd name="connsiteX0" fmla="*/ 727595 w 1684145"/>
                  <a:gd name="connsiteY0" fmla="*/ 0 h 2553003"/>
                  <a:gd name="connsiteX1" fmla="*/ 714082 w 1684145"/>
                  <a:gd name="connsiteY1" fmla="*/ 19088 h 2553003"/>
                  <a:gd name="connsiteX2" fmla="*/ 514286 w 1684145"/>
                  <a:gd name="connsiteY2" fmla="*/ 305434 h 2553003"/>
                  <a:gd name="connsiteX3" fmla="*/ 963237 w 1684145"/>
                  <a:gd name="connsiteY3" fmla="*/ 305434 h 2553003"/>
                  <a:gd name="connsiteX4" fmla="*/ 727595 w 1684145"/>
                  <a:gd name="connsiteY4" fmla="*/ 0 h 2553003"/>
                  <a:gd name="connsiteX0" fmla="*/ 422185 w 1684147"/>
                  <a:gd name="connsiteY0" fmla="*/ 269584 h 2553005"/>
                  <a:gd name="connsiteX1" fmla="*/ 341842 w 1684147"/>
                  <a:gd name="connsiteY1" fmla="*/ 276089 h 2553005"/>
                  <a:gd name="connsiteX2" fmla="*/ 300436 w 1684147"/>
                  <a:gd name="connsiteY2" fmla="*/ 293365 h 2553005"/>
                  <a:gd name="connsiteX3" fmla="*/ 250645 w 1684147"/>
                  <a:gd name="connsiteY3" fmla="*/ 604909 h 2553005"/>
                  <a:gd name="connsiteX4" fmla="*/ 284848 w 1684147"/>
                  <a:gd name="connsiteY4" fmla="*/ 634403 h 2553005"/>
                  <a:gd name="connsiteX5" fmla="*/ 1181 w 1684147"/>
                  <a:gd name="connsiteY5" fmla="*/ 1041107 h 2553005"/>
                  <a:gd name="connsiteX6" fmla="*/ 0 w 1684147"/>
                  <a:gd name="connsiteY6" fmla="*/ 1042695 h 2553005"/>
                  <a:gd name="connsiteX7" fmla="*/ 698 w 1684147"/>
                  <a:gd name="connsiteY7" fmla="*/ 1042695 h 2553005"/>
                  <a:gd name="connsiteX8" fmla="*/ 751243 w 1684147"/>
                  <a:gd name="connsiteY8" fmla="*/ 2553004 h 2553005"/>
                  <a:gd name="connsiteX9" fmla="*/ 1670837 w 1684147"/>
                  <a:gd name="connsiteY9" fmla="*/ 1258214 h 2553005"/>
                  <a:gd name="connsiteX10" fmla="*/ 1684146 w 1684147"/>
                  <a:gd name="connsiteY10" fmla="*/ 1239113 h 2553005"/>
                  <a:gd name="connsiteX11" fmla="*/ 963237 w 1684147"/>
                  <a:gd name="connsiteY11" fmla="*/ 305434 h 2553005"/>
                  <a:gd name="connsiteX12" fmla="*/ 514286 w 1684147"/>
                  <a:gd name="connsiteY12" fmla="*/ 305434 h 2553005"/>
                  <a:gd name="connsiteX13" fmla="*/ 486072 w 1684147"/>
                  <a:gd name="connsiteY13" fmla="*/ 288593 h 2553005"/>
                  <a:gd name="connsiteX14" fmla="*/ 455202 w 1684147"/>
                  <a:gd name="connsiteY14" fmla="*/ 276478 h 2553005"/>
                  <a:gd name="connsiteX15" fmla="*/ 422185 w 1684147"/>
                  <a:gd name="connsiteY15" fmla="*/ 269584 h 2553005"/>
                  <a:gd name="connsiteX0" fmla="*/ 727595 w 1684147"/>
                  <a:gd name="connsiteY0" fmla="*/ 0 h 2553005"/>
                  <a:gd name="connsiteX1" fmla="*/ 714082 w 1684147"/>
                  <a:gd name="connsiteY1" fmla="*/ 19088 h 2553005"/>
                  <a:gd name="connsiteX2" fmla="*/ 514286 w 1684147"/>
                  <a:gd name="connsiteY2" fmla="*/ 305434 h 2553005"/>
                  <a:gd name="connsiteX3" fmla="*/ 963237 w 1684147"/>
                  <a:gd name="connsiteY3" fmla="*/ 305434 h 2553005"/>
                  <a:gd name="connsiteX4" fmla="*/ 727595 w 1684147"/>
                  <a:gd name="connsiteY4" fmla="*/ 0 h 2553005"/>
                  <a:gd name="connsiteX0" fmla="*/ 422185 w 1684145"/>
                  <a:gd name="connsiteY0" fmla="*/ 269584 h 2553003"/>
                  <a:gd name="connsiteX1" fmla="*/ 341842 w 1684145"/>
                  <a:gd name="connsiteY1" fmla="*/ 276089 h 2553003"/>
                  <a:gd name="connsiteX2" fmla="*/ 300436 w 1684145"/>
                  <a:gd name="connsiteY2" fmla="*/ 293365 h 2553003"/>
                  <a:gd name="connsiteX3" fmla="*/ 284848 w 1684145"/>
                  <a:gd name="connsiteY3" fmla="*/ 634403 h 2553003"/>
                  <a:gd name="connsiteX4" fmla="*/ 1181 w 1684145"/>
                  <a:gd name="connsiteY4" fmla="*/ 1041107 h 2553003"/>
                  <a:gd name="connsiteX5" fmla="*/ 0 w 1684145"/>
                  <a:gd name="connsiteY5" fmla="*/ 1042695 h 2553003"/>
                  <a:gd name="connsiteX6" fmla="*/ 698 w 1684145"/>
                  <a:gd name="connsiteY6" fmla="*/ 1042695 h 2553003"/>
                  <a:gd name="connsiteX7" fmla="*/ 751243 w 1684145"/>
                  <a:gd name="connsiteY7" fmla="*/ 2553004 h 2553003"/>
                  <a:gd name="connsiteX8" fmla="*/ 1670837 w 1684145"/>
                  <a:gd name="connsiteY8" fmla="*/ 1258214 h 2553003"/>
                  <a:gd name="connsiteX9" fmla="*/ 1684146 w 1684145"/>
                  <a:gd name="connsiteY9" fmla="*/ 1239113 h 2553003"/>
                  <a:gd name="connsiteX10" fmla="*/ 963237 w 1684145"/>
                  <a:gd name="connsiteY10" fmla="*/ 305434 h 2553003"/>
                  <a:gd name="connsiteX11" fmla="*/ 514286 w 1684145"/>
                  <a:gd name="connsiteY11" fmla="*/ 305434 h 2553003"/>
                  <a:gd name="connsiteX12" fmla="*/ 486072 w 1684145"/>
                  <a:gd name="connsiteY12" fmla="*/ 288593 h 2553003"/>
                  <a:gd name="connsiteX13" fmla="*/ 455202 w 1684145"/>
                  <a:gd name="connsiteY13" fmla="*/ 276478 h 2553003"/>
                  <a:gd name="connsiteX14" fmla="*/ 422185 w 1684145"/>
                  <a:gd name="connsiteY14" fmla="*/ 269584 h 2553003"/>
                  <a:gd name="connsiteX0" fmla="*/ 727595 w 1684145"/>
                  <a:gd name="connsiteY0" fmla="*/ 0 h 2553003"/>
                  <a:gd name="connsiteX1" fmla="*/ 714082 w 1684145"/>
                  <a:gd name="connsiteY1" fmla="*/ 19088 h 2553003"/>
                  <a:gd name="connsiteX2" fmla="*/ 514286 w 1684145"/>
                  <a:gd name="connsiteY2" fmla="*/ 305434 h 2553003"/>
                  <a:gd name="connsiteX3" fmla="*/ 963237 w 1684145"/>
                  <a:gd name="connsiteY3" fmla="*/ 305434 h 2553003"/>
                  <a:gd name="connsiteX4" fmla="*/ 727595 w 1684145"/>
                  <a:gd name="connsiteY4" fmla="*/ 0 h 2553003"/>
                  <a:gd name="connsiteX0" fmla="*/ 422185 w 1684147"/>
                  <a:gd name="connsiteY0" fmla="*/ 269584 h 2553005"/>
                  <a:gd name="connsiteX1" fmla="*/ 341842 w 1684147"/>
                  <a:gd name="connsiteY1" fmla="*/ 276089 h 2553005"/>
                  <a:gd name="connsiteX2" fmla="*/ 284848 w 1684147"/>
                  <a:gd name="connsiteY2" fmla="*/ 634403 h 2553005"/>
                  <a:gd name="connsiteX3" fmla="*/ 1181 w 1684147"/>
                  <a:gd name="connsiteY3" fmla="*/ 1041107 h 2553005"/>
                  <a:gd name="connsiteX4" fmla="*/ 0 w 1684147"/>
                  <a:gd name="connsiteY4" fmla="*/ 1042695 h 2553005"/>
                  <a:gd name="connsiteX5" fmla="*/ 698 w 1684147"/>
                  <a:gd name="connsiteY5" fmla="*/ 1042695 h 2553005"/>
                  <a:gd name="connsiteX6" fmla="*/ 751243 w 1684147"/>
                  <a:gd name="connsiteY6" fmla="*/ 2553004 h 2553005"/>
                  <a:gd name="connsiteX7" fmla="*/ 1670837 w 1684147"/>
                  <a:gd name="connsiteY7" fmla="*/ 1258214 h 2553005"/>
                  <a:gd name="connsiteX8" fmla="*/ 1684146 w 1684147"/>
                  <a:gd name="connsiteY8" fmla="*/ 1239113 h 2553005"/>
                  <a:gd name="connsiteX9" fmla="*/ 963237 w 1684147"/>
                  <a:gd name="connsiteY9" fmla="*/ 305434 h 2553005"/>
                  <a:gd name="connsiteX10" fmla="*/ 514286 w 1684147"/>
                  <a:gd name="connsiteY10" fmla="*/ 305434 h 2553005"/>
                  <a:gd name="connsiteX11" fmla="*/ 486072 w 1684147"/>
                  <a:gd name="connsiteY11" fmla="*/ 288593 h 2553005"/>
                  <a:gd name="connsiteX12" fmla="*/ 455202 w 1684147"/>
                  <a:gd name="connsiteY12" fmla="*/ 276478 h 2553005"/>
                  <a:gd name="connsiteX13" fmla="*/ 422185 w 1684147"/>
                  <a:gd name="connsiteY13" fmla="*/ 269584 h 2553005"/>
                  <a:gd name="connsiteX0" fmla="*/ 727595 w 1684147"/>
                  <a:gd name="connsiteY0" fmla="*/ 0 h 2553005"/>
                  <a:gd name="connsiteX1" fmla="*/ 714082 w 1684147"/>
                  <a:gd name="connsiteY1" fmla="*/ 19088 h 2553005"/>
                  <a:gd name="connsiteX2" fmla="*/ 514286 w 1684147"/>
                  <a:gd name="connsiteY2" fmla="*/ 305434 h 2553005"/>
                  <a:gd name="connsiteX3" fmla="*/ 963237 w 1684147"/>
                  <a:gd name="connsiteY3" fmla="*/ 305434 h 2553005"/>
                  <a:gd name="connsiteX4" fmla="*/ 727595 w 1684147"/>
                  <a:gd name="connsiteY4" fmla="*/ 0 h 2553005"/>
                  <a:gd name="connsiteX0" fmla="*/ 422185 w 1684145"/>
                  <a:gd name="connsiteY0" fmla="*/ 269584 h 2553003"/>
                  <a:gd name="connsiteX1" fmla="*/ 284848 w 1684145"/>
                  <a:gd name="connsiteY1" fmla="*/ 634403 h 2553003"/>
                  <a:gd name="connsiteX2" fmla="*/ 1181 w 1684145"/>
                  <a:gd name="connsiteY2" fmla="*/ 1041107 h 2553003"/>
                  <a:gd name="connsiteX3" fmla="*/ 0 w 1684145"/>
                  <a:gd name="connsiteY3" fmla="*/ 1042695 h 2553003"/>
                  <a:gd name="connsiteX4" fmla="*/ 698 w 1684145"/>
                  <a:gd name="connsiteY4" fmla="*/ 1042695 h 2553003"/>
                  <a:gd name="connsiteX5" fmla="*/ 751243 w 1684145"/>
                  <a:gd name="connsiteY5" fmla="*/ 2553004 h 2553003"/>
                  <a:gd name="connsiteX6" fmla="*/ 1670837 w 1684145"/>
                  <a:gd name="connsiteY6" fmla="*/ 1258214 h 2553003"/>
                  <a:gd name="connsiteX7" fmla="*/ 1684146 w 1684145"/>
                  <a:gd name="connsiteY7" fmla="*/ 1239113 h 2553003"/>
                  <a:gd name="connsiteX8" fmla="*/ 963237 w 1684145"/>
                  <a:gd name="connsiteY8" fmla="*/ 305434 h 2553003"/>
                  <a:gd name="connsiteX9" fmla="*/ 514286 w 1684145"/>
                  <a:gd name="connsiteY9" fmla="*/ 305434 h 2553003"/>
                  <a:gd name="connsiteX10" fmla="*/ 486072 w 1684145"/>
                  <a:gd name="connsiteY10" fmla="*/ 288593 h 2553003"/>
                  <a:gd name="connsiteX11" fmla="*/ 455202 w 1684145"/>
                  <a:gd name="connsiteY11" fmla="*/ 276478 h 2553003"/>
                  <a:gd name="connsiteX12" fmla="*/ 422185 w 1684145"/>
                  <a:gd name="connsiteY12" fmla="*/ 269584 h 2553003"/>
                  <a:gd name="connsiteX0" fmla="*/ 727595 w 1684145"/>
                  <a:gd name="connsiteY0" fmla="*/ 0 h 2553003"/>
                  <a:gd name="connsiteX1" fmla="*/ 714082 w 1684145"/>
                  <a:gd name="connsiteY1" fmla="*/ 19088 h 2553003"/>
                  <a:gd name="connsiteX2" fmla="*/ 514286 w 1684145"/>
                  <a:gd name="connsiteY2" fmla="*/ 305434 h 2553003"/>
                  <a:gd name="connsiteX3" fmla="*/ 963237 w 1684145"/>
                  <a:gd name="connsiteY3" fmla="*/ 305434 h 2553003"/>
                  <a:gd name="connsiteX4" fmla="*/ 727595 w 1684145"/>
                  <a:gd name="connsiteY4" fmla="*/ 0 h 2553003"/>
                  <a:gd name="connsiteX0" fmla="*/ 455202 w 1684147"/>
                  <a:gd name="connsiteY0" fmla="*/ 276478 h 2553005"/>
                  <a:gd name="connsiteX1" fmla="*/ 284848 w 1684147"/>
                  <a:gd name="connsiteY1" fmla="*/ 634403 h 2553005"/>
                  <a:gd name="connsiteX2" fmla="*/ 1181 w 1684147"/>
                  <a:gd name="connsiteY2" fmla="*/ 1041107 h 2553005"/>
                  <a:gd name="connsiteX3" fmla="*/ 0 w 1684147"/>
                  <a:gd name="connsiteY3" fmla="*/ 1042695 h 2553005"/>
                  <a:gd name="connsiteX4" fmla="*/ 698 w 1684147"/>
                  <a:gd name="connsiteY4" fmla="*/ 1042695 h 2553005"/>
                  <a:gd name="connsiteX5" fmla="*/ 751243 w 1684147"/>
                  <a:gd name="connsiteY5" fmla="*/ 2553004 h 2553005"/>
                  <a:gd name="connsiteX6" fmla="*/ 1670837 w 1684147"/>
                  <a:gd name="connsiteY6" fmla="*/ 1258214 h 2553005"/>
                  <a:gd name="connsiteX7" fmla="*/ 1684146 w 1684147"/>
                  <a:gd name="connsiteY7" fmla="*/ 1239113 h 2553005"/>
                  <a:gd name="connsiteX8" fmla="*/ 963237 w 1684147"/>
                  <a:gd name="connsiteY8" fmla="*/ 305434 h 2553005"/>
                  <a:gd name="connsiteX9" fmla="*/ 514286 w 1684147"/>
                  <a:gd name="connsiteY9" fmla="*/ 305434 h 2553005"/>
                  <a:gd name="connsiteX10" fmla="*/ 486072 w 1684147"/>
                  <a:gd name="connsiteY10" fmla="*/ 288593 h 2553005"/>
                  <a:gd name="connsiteX11" fmla="*/ 455202 w 1684147"/>
                  <a:gd name="connsiteY11" fmla="*/ 276478 h 2553005"/>
                  <a:gd name="connsiteX0" fmla="*/ 727595 w 1684147"/>
                  <a:gd name="connsiteY0" fmla="*/ 0 h 2553005"/>
                  <a:gd name="connsiteX1" fmla="*/ 714082 w 1684147"/>
                  <a:gd name="connsiteY1" fmla="*/ 19088 h 2553005"/>
                  <a:gd name="connsiteX2" fmla="*/ 514286 w 1684147"/>
                  <a:gd name="connsiteY2" fmla="*/ 305434 h 2553005"/>
                  <a:gd name="connsiteX3" fmla="*/ 963237 w 1684147"/>
                  <a:gd name="connsiteY3" fmla="*/ 305434 h 2553005"/>
                  <a:gd name="connsiteX4" fmla="*/ 727595 w 1684147"/>
                  <a:gd name="connsiteY4" fmla="*/ 0 h 2553005"/>
                  <a:gd name="connsiteX0" fmla="*/ 486072 w 1684145"/>
                  <a:gd name="connsiteY0" fmla="*/ 288593 h 2553003"/>
                  <a:gd name="connsiteX1" fmla="*/ 284848 w 1684145"/>
                  <a:gd name="connsiteY1" fmla="*/ 634403 h 2553003"/>
                  <a:gd name="connsiteX2" fmla="*/ 1181 w 1684145"/>
                  <a:gd name="connsiteY2" fmla="*/ 1041107 h 2553003"/>
                  <a:gd name="connsiteX3" fmla="*/ 0 w 1684145"/>
                  <a:gd name="connsiteY3" fmla="*/ 1042695 h 2553003"/>
                  <a:gd name="connsiteX4" fmla="*/ 698 w 1684145"/>
                  <a:gd name="connsiteY4" fmla="*/ 1042695 h 2553003"/>
                  <a:gd name="connsiteX5" fmla="*/ 751243 w 1684145"/>
                  <a:gd name="connsiteY5" fmla="*/ 2553004 h 2553003"/>
                  <a:gd name="connsiteX6" fmla="*/ 1670837 w 1684145"/>
                  <a:gd name="connsiteY6" fmla="*/ 1258214 h 2553003"/>
                  <a:gd name="connsiteX7" fmla="*/ 1684146 w 1684145"/>
                  <a:gd name="connsiteY7" fmla="*/ 1239113 h 2553003"/>
                  <a:gd name="connsiteX8" fmla="*/ 963237 w 1684145"/>
                  <a:gd name="connsiteY8" fmla="*/ 305434 h 2553003"/>
                  <a:gd name="connsiteX9" fmla="*/ 514286 w 1684145"/>
                  <a:gd name="connsiteY9" fmla="*/ 305434 h 2553003"/>
                  <a:gd name="connsiteX10" fmla="*/ 486072 w 1684145"/>
                  <a:gd name="connsiteY10" fmla="*/ 288593 h 2553003"/>
                  <a:gd name="connsiteX0" fmla="*/ 727595 w 1684145"/>
                  <a:gd name="connsiteY0" fmla="*/ 0 h 2553003"/>
                  <a:gd name="connsiteX1" fmla="*/ 714082 w 1684145"/>
                  <a:gd name="connsiteY1" fmla="*/ 19088 h 2553003"/>
                  <a:gd name="connsiteX2" fmla="*/ 514286 w 1684145"/>
                  <a:gd name="connsiteY2" fmla="*/ 305434 h 2553003"/>
                  <a:gd name="connsiteX3" fmla="*/ 963237 w 1684145"/>
                  <a:gd name="connsiteY3" fmla="*/ 305434 h 2553003"/>
                  <a:gd name="connsiteX4" fmla="*/ 727595 w 1684145"/>
                  <a:gd name="connsiteY4" fmla="*/ 0 h 2553003"/>
                  <a:gd name="connsiteX0" fmla="*/ 514286 w 1684147"/>
                  <a:gd name="connsiteY0" fmla="*/ 305434 h 2553005"/>
                  <a:gd name="connsiteX1" fmla="*/ 284848 w 1684147"/>
                  <a:gd name="connsiteY1" fmla="*/ 634403 h 2553005"/>
                  <a:gd name="connsiteX2" fmla="*/ 1181 w 1684147"/>
                  <a:gd name="connsiteY2" fmla="*/ 1041107 h 2553005"/>
                  <a:gd name="connsiteX3" fmla="*/ 0 w 1684147"/>
                  <a:gd name="connsiteY3" fmla="*/ 1042695 h 2553005"/>
                  <a:gd name="connsiteX4" fmla="*/ 698 w 1684147"/>
                  <a:gd name="connsiteY4" fmla="*/ 1042695 h 2553005"/>
                  <a:gd name="connsiteX5" fmla="*/ 751243 w 1684147"/>
                  <a:gd name="connsiteY5" fmla="*/ 2553004 h 2553005"/>
                  <a:gd name="connsiteX6" fmla="*/ 1670837 w 1684147"/>
                  <a:gd name="connsiteY6" fmla="*/ 1258214 h 2553005"/>
                  <a:gd name="connsiteX7" fmla="*/ 1684146 w 1684147"/>
                  <a:gd name="connsiteY7" fmla="*/ 1239113 h 2553005"/>
                  <a:gd name="connsiteX8" fmla="*/ 963237 w 1684147"/>
                  <a:gd name="connsiteY8" fmla="*/ 305434 h 2553005"/>
                  <a:gd name="connsiteX9" fmla="*/ 514286 w 1684147"/>
                  <a:gd name="connsiteY9" fmla="*/ 305434 h 2553005"/>
                  <a:gd name="connsiteX0" fmla="*/ 727595 w 1684147"/>
                  <a:gd name="connsiteY0" fmla="*/ 0 h 2553005"/>
                  <a:gd name="connsiteX1" fmla="*/ 714082 w 1684147"/>
                  <a:gd name="connsiteY1" fmla="*/ 19088 h 2553005"/>
                  <a:gd name="connsiteX2" fmla="*/ 514286 w 1684147"/>
                  <a:gd name="connsiteY2" fmla="*/ 305434 h 2553005"/>
                  <a:gd name="connsiteX3" fmla="*/ 963237 w 1684147"/>
                  <a:gd name="connsiteY3" fmla="*/ 305434 h 2553005"/>
                  <a:gd name="connsiteX4" fmla="*/ 727595 w 1684147"/>
                  <a:gd name="connsiteY4" fmla="*/ 0 h 2553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4147" h="2553005">
                    <a:moveTo>
                      <a:pt x="514286" y="305434"/>
                    </a:moveTo>
                    <a:lnTo>
                      <a:pt x="284848" y="634403"/>
                    </a:lnTo>
                    <a:lnTo>
                      <a:pt x="1181" y="1041107"/>
                    </a:lnTo>
                    <a:lnTo>
                      <a:pt x="0" y="1042695"/>
                    </a:lnTo>
                    <a:lnTo>
                      <a:pt x="698" y="1042695"/>
                    </a:lnTo>
                    <a:lnTo>
                      <a:pt x="751243" y="2553004"/>
                    </a:lnTo>
                    <a:lnTo>
                      <a:pt x="1670837" y="1258214"/>
                    </a:lnTo>
                    <a:lnTo>
                      <a:pt x="1684146" y="1239113"/>
                    </a:lnTo>
                    <a:lnTo>
                      <a:pt x="963237" y="305434"/>
                    </a:lnTo>
                    <a:lnTo>
                      <a:pt x="514286" y="305434"/>
                    </a:lnTo>
                    <a:close/>
                  </a:path>
                  <a:path w="1684147" h="2553005">
                    <a:moveTo>
                      <a:pt x="727595" y="0"/>
                    </a:moveTo>
                    <a:lnTo>
                      <a:pt x="714082" y="19088"/>
                    </a:lnTo>
                    <a:lnTo>
                      <a:pt x="514286" y="305434"/>
                    </a:lnTo>
                    <a:lnTo>
                      <a:pt x="963237" y="305434"/>
                    </a:lnTo>
                    <a:lnTo>
                      <a:pt x="727595" y="0"/>
                    </a:lnTo>
                    <a:close/>
                  </a:path>
                </a:pathLst>
              </a:custGeom>
              <a:solidFill>
                <a:srgbClr val="0369C5"/>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sp>
            <p:nvSpPr>
              <p:cNvPr id="22" name="bk object 19">
                <a:extLst>
                  <a:ext uri="{FF2B5EF4-FFF2-40B4-BE49-F238E27FC236}">
                    <a16:creationId xmlns:a16="http://schemas.microsoft.com/office/drawing/2014/main" id="{91B400DD-B24A-60EA-4A49-624555ECB494}"/>
                  </a:ext>
                </a:extLst>
              </p:cNvPr>
              <p:cNvSpPr>
                <a:spLocks/>
              </p:cNvSpPr>
              <p:nvPr/>
            </p:nvSpPr>
            <p:spPr bwMode="auto">
              <a:xfrm>
                <a:off x="6417770" y="4986403"/>
                <a:ext cx="421315" cy="863977"/>
              </a:xfrm>
              <a:custGeom>
                <a:avLst/>
                <a:gdLst>
                  <a:gd name="T0" fmla="*/ 825 w 751840"/>
                  <a:gd name="T1" fmla="*/ 0 h 1511300"/>
                  <a:gd name="T2" fmla="*/ 139 w 751840"/>
                  <a:gd name="T3" fmla="*/ 0 h 1511300"/>
                  <a:gd name="T4" fmla="*/ 0 w 751840"/>
                  <a:gd name="T5" fmla="*/ 215 h 1511300"/>
                  <a:gd name="T6" fmla="*/ 750925 w 751840"/>
                  <a:gd name="T7" fmla="*/ 1510728 h 1511300"/>
                  <a:gd name="T8" fmla="*/ 751370 w 751840"/>
                  <a:gd name="T9" fmla="*/ 1510322 h 1511300"/>
                  <a:gd name="T10" fmla="*/ 825 w 751840"/>
                  <a:gd name="T11" fmla="*/ 0 h 15113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51840" h="1511300">
                    <a:moveTo>
                      <a:pt x="825" y="0"/>
                    </a:moveTo>
                    <a:lnTo>
                      <a:pt x="139" y="0"/>
                    </a:lnTo>
                    <a:lnTo>
                      <a:pt x="0" y="215"/>
                    </a:lnTo>
                    <a:lnTo>
                      <a:pt x="750925" y="1510728"/>
                    </a:lnTo>
                    <a:lnTo>
                      <a:pt x="751370" y="1510322"/>
                    </a:lnTo>
                    <a:lnTo>
                      <a:pt x="825" y="0"/>
                    </a:lnTo>
                    <a:close/>
                  </a:path>
                </a:pathLst>
              </a:custGeom>
              <a:solidFill>
                <a:srgbClr val="EF4A5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grpSp>
      </p:grpSp>
      <p:grpSp>
        <p:nvGrpSpPr>
          <p:cNvPr id="23" name="Group 22">
            <a:extLst>
              <a:ext uri="{FF2B5EF4-FFF2-40B4-BE49-F238E27FC236}">
                <a16:creationId xmlns:a16="http://schemas.microsoft.com/office/drawing/2014/main" id="{0E1DF39E-12C8-53CF-E5C9-AEBBBFAB8254}"/>
              </a:ext>
            </a:extLst>
          </p:cNvPr>
          <p:cNvGrpSpPr>
            <a:grpSpLocks noChangeAspect="1"/>
          </p:cNvGrpSpPr>
          <p:nvPr/>
        </p:nvGrpSpPr>
        <p:grpSpPr>
          <a:xfrm rot="277593">
            <a:off x="7731087" y="3152820"/>
            <a:ext cx="2808254" cy="1506112"/>
            <a:chOff x="3423537" y="3449742"/>
            <a:chExt cx="3272239" cy="1371559"/>
          </a:xfrm>
        </p:grpSpPr>
        <p:sp>
          <p:nvSpPr>
            <p:cNvPr id="24" name="bk object 20">
              <a:extLst>
                <a:ext uri="{FF2B5EF4-FFF2-40B4-BE49-F238E27FC236}">
                  <a16:creationId xmlns:a16="http://schemas.microsoft.com/office/drawing/2014/main" id="{8B87D2AA-B539-5749-8896-E51D2CDF1960}"/>
                </a:ext>
              </a:extLst>
            </p:cNvPr>
            <p:cNvSpPr>
              <a:spLocks/>
            </p:cNvSpPr>
            <p:nvPr/>
          </p:nvSpPr>
          <p:spPr bwMode="auto">
            <a:xfrm>
              <a:off x="3423537" y="3826078"/>
              <a:ext cx="2895284" cy="995163"/>
            </a:xfrm>
            <a:custGeom>
              <a:avLst/>
              <a:gdLst>
                <a:gd name="T0" fmla="*/ 3447477 w 5480684"/>
                <a:gd name="T1" fmla="*/ 0 h 1846579"/>
                <a:gd name="T2" fmla="*/ 917270 w 5480684"/>
                <a:gd name="T3" fmla="*/ 0 h 1846579"/>
                <a:gd name="T4" fmla="*/ 0 w 5480684"/>
                <a:gd name="T5" fmla="*/ 1846299 h 1846579"/>
                <a:gd name="T6" fmla="*/ 5480354 w 5480684"/>
                <a:gd name="T7" fmla="*/ 1846299 h 1846579"/>
                <a:gd name="T8" fmla="*/ 4538026 w 5480684"/>
                <a:gd name="T9" fmla="*/ 558 h 1846579"/>
                <a:gd name="T10" fmla="*/ 3447477 w 5480684"/>
                <a:gd name="T11" fmla="*/ 558 h 1846579"/>
                <a:gd name="T12" fmla="*/ 3447477 w 5480684"/>
                <a:gd name="T13" fmla="*/ 0 h 184657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480684" h="1846579">
                  <a:moveTo>
                    <a:pt x="3447465" y="0"/>
                  </a:moveTo>
                  <a:lnTo>
                    <a:pt x="917270" y="0"/>
                  </a:lnTo>
                  <a:lnTo>
                    <a:pt x="0" y="1846287"/>
                  </a:lnTo>
                  <a:lnTo>
                    <a:pt x="5480342" y="1846287"/>
                  </a:lnTo>
                  <a:lnTo>
                    <a:pt x="4538014" y="558"/>
                  </a:lnTo>
                  <a:lnTo>
                    <a:pt x="3447465" y="558"/>
                  </a:lnTo>
                  <a:lnTo>
                    <a:pt x="3447465" y="0"/>
                  </a:lnTo>
                  <a:close/>
                </a:path>
              </a:pathLst>
            </a:custGeom>
            <a:solidFill>
              <a:schemeClr val="accent1">
                <a:lumMod val="60000"/>
                <a:lumOff val="40000"/>
              </a:schemeClr>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sp>
          <p:nvSpPr>
            <p:cNvPr id="25" name="bk object 21">
              <a:extLst>
                <a:ext uri="{FF2B5EF4-FFF2-40B4-BE49-F238E27FC236}">
                  <a16:creationId xmlns:a16="http://schemas.microsoft.com/office/drawing/2014/main" id="{AACABCA1-6B03-B0D0-9857-4E73DBB2D537}"/>
                </a:ext>
              </a:extLst>
            </p:cNvPr>
            <p:cNvSpPr>
              <a:spLocks/>
            </p:cNvSpPr>
            <p:nvPr/>
          </p:nvSpPr>
          <p:spPr bwMode="auto">
            <a:xfrm>
              <a:off x="5812197" y="3450043"/>
              <a:ext cx="883579" cy="1371258"/>
            </a:xfrm>
            <a:custGeom>
              <a:avLst/>
              <a:gdLst>
                <a:gd name="T0" fmla="*/ 487476 w 1672590"/>
                <a:gd name="T1" fmla="*/ 0 h 2544445"/>
                <a:gd name="T2" fmla="*/ 0 w 1672590"/>
                <a:gd name="T3" fmla="*/ 698385 h 2544445"/>
                <a:gd name="T4" fmla="*/ 445642 w 1672590"/>
                <a:gd name="T5" fmla="*/ 1594954 h 2544445"/>
                <a:gd name="T6" fmla="*/ 944245 w 1672590"/>
                <a:gd name="T7" fmla="*/ 2544038 h 2544445"/>
                <a:gd name="T8" fmla="*/ 1430782 w 1672590"/>
                <a:gd name="T9" fmla="*/ 1852853 h 2544445"/>
                <a:gd name="T10" fmla="*/ 1638630 w 1672590"/>
                <a:gd name="T11" fmla="*/ 1549184 h 2544445"/>
                <a:gd name="T12" fmla="*/ 1672260 w 1672590"/>
                <a:gd name="T13" fmla="*/ 1501343 h 2544445"/>
                <a:gd name="T14" fmla="*/ 1376947 w 1672590"/>
                <a:gd name="T15" fmla="*/ 1152220 h 2544445"/>
                <a:gd name="T16" fmla="*/ 487476 w 1672590"/>
                <a:gd name="T17" fmla="*/ 0 h 25444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72590" h="2544445">
                  <a:moveTo>
                    <a:pt x="487476" y="0"/>
                  </a:moveTo>
                  <a:lnTo>
                    <a:pt x="0" y="698385"/>
                  </a:lnTo>
                  <a:lnTo>
                    <a:pt x="445642" y="1594954"/>
                  </a:lnTo>
                  <a:lnTo>
                    <a:pt x="944257" y="2544038"/>
                  </a:lnTo>
                  <a:lnTo>
                    <a:pt x="1430794" y="1852853"/>
                  </a:lnTo>
                  <a:lnTo>
                    <a:pt x="1638642" y="1549184"/>
                  </a:lnTo>
                  <a:lnTo>
                    <a:pt x="1672272" y="1501343"/>
                  </a:lnTo>
                  <a:lnTo>
                    <a:pt x="1376959" y="1152220"/>
                  </a:lnTo>
                  <a:lnTo>
                    <a:pt x="487476" y="0"/>
                  </a:lnTo>
                  <a:close/>
                </a:path>
              </a:pathLst>
            </a:custGeom>
            <a:solidFill>
              <a:schemeClr val="accent1">
                <a:lumMod val="40000"/>
                <a:lumOff val="60000"/>
              </a:schemeClr>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sp>
          <p:nvSpPr>
            <p:cNvPr id="26" name="bk object 24">
              <a:extLst>
                <a:ext uri="{FF2B5EF4-FFF2-40B4-BE49-F238E27FC236}">
                  <a16:creationId xmlns:a16="http://schemas.microsoft.com/office/drawing/2014/main" id="{9A5A8C21-07A1-FD0D-A75B-9B4A66684BA8}"/>
                </a:ext>
              </a:extLst>
            </p:cNvPr>
            <p:cNvSpPr>
              <a:spLocks/>
            </p:cNvSpPr>
            <p:nvPr/>
          </p:nvSpPr>
          <p:spPr bwMode="auto">
            <a:xfrm>
              <a:off x="3908103" y="3449742"/>
              <a:ext cx="1668826" cy="376635"/>
            </a:xfrm>
            <a:custGeom>
              <a:avLst/>
              <a:gdLst>
                <a:gd name="T0" fmla="*/ 1958975 w 3159125"/>
                <a:gd name="T1" fmla="*/ 698297 h 899795"/>
                <a:gd name="T2" fmla="*/ 1557591 w 3159125"/>
                <a:gd name="T3" fmla="*/ 698297 h 899795"/>
                <a:gd name="T4" fmla="*/ 1557553 w 3159125"/>
                <a:gd name="T5" fmla="*/ 698856 h 899795"/>
                <a:gd name="T6" fmla="*/ 1562855 w 3159125"/>
                <a:gd name="T7" fmla="*/ 744880 h 899795"/>
                <a:gd name="T8" fmla="*/ 1577957 w 3159125"/>
                <a:gd name="T9" fmla="*/ 787130 h 899795"/>
                <a:gd name="T10" fmla="*/ 1601653 w 3159125"/>
                <a:gd name="T11" fmla="*/ 824399 h 899795"/>
                <a:gd name="T12" fmla="*/ 1632739 w 3159125"/>
                <a:gd name="T13" fmla="*/ 855483 h 899795"/>
                <a:gd name="T14" fmla="*/ 1670008 w 3159125"/>
                <a:gd name="T15" fmla="*/ 879178 h 899795"/>
                <a:gd name="T16" fmla="*/ 1712256 w 3159125"/>
                <a:gd name="T17" fmla="*/ 894278 h 899795"/>
                <a:gd name="T18" fmla="*/ 1758276 w 3159125"/>
                <a:gd name="T19" fmla="*/ 899579 h 899795"/>
                <a:gd name="T20" fmla="*/ 1804301 w 3159125"/>
                <a:gd name="T21" fmla="*/ 894278 h 899795"/>
                <a:gd name="T22" fmla="*/ 1846550 w 3159125"/>
                <a:gd name="T23" fmla="*/ 879178 h 899795"/>
                <a:gd name="T24" fmla="*/ 1883819 w 3159125"/>
                <a:gd name="T25" fmla="*/ 855483 h 899795"/>
                <a:gd name="T26" fmla="*/ 1914904 w 3159125"/>
                <a:gd name="T27" fmla="*/ 824399 h 899795"/>
                <a:gd name="T28" fmla="*/ 1938598 w 3159125"/>
                <a:gd name="T29" fmla="*/ 787130 h 899795"/>
                <a:gd name="T30" fmla="*/ 1953699 w 3159125"/>
                <a:gd name="T31" fmla="*/ 744880 h 899795"/>
                <a:gd name="T32" fmla="*/ 1959000 w 3159125"/>
                <a:gd name="T33" fmla="*/ 698856 h 899795"/>
                <a:gd name="T34" fmla="*/ 1958975 w 3159125"/>
                <a:gd name="T35" fmla="*/ 698297 h 899795"/>
                <a:gd name="T36" fmla="*/ 3159036 w 3159125"/>
                <a:gd name="T37" fmla="*/ 0 h 899795"/>
                <a:gd name="T38" fmla="*/ 1081976 w 3159125"/>
                <a:gd name="T39" fmla="*/ 0 h 899795"/>
                <a:gd name="T40" fmla="*/ 0 w 3159125"/>
                <a:gd name="T41" fmla="*/ 698297 h 899795"/>
                <a:gd name="T42" fmla="*/ 2516225 w 3159125"/>
                <a:gd name="T43" fmla="*/ 698297 h 899795"/>
                <a:gd name="T44" fmla="*/ 2515730 w 3159125"/>
                <a:gd name="T45" fmla="*/ 698856 h 899795"/>
                <a:gd name="T46" fmla="*/ 3158540 w 3159125"/>
                <a:gd name="T47" fmla="*/ 558 h 899795"/>
                <a:gd name="T48" fmla="*/ 3159036 w 3159125"/>
                <a:gd name="T49" fmla="*/ 0 h 89979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connsiteX0" fmla="*/ 1958975 w 3159036"/>
                <a:gd name="connsiteY0" fmla="*/ 698309 h 899592"/>
                <a:gd name="connsiteX1" fmla="*/ 1557591 w 3159036"/>
                <a:gd name="connsiteY1" fmla="*/ 698309 h 899592"/>
                <a:gd name="connsiteX2" fmla="*/ 1557553 w 3159036"/>
                <a:gd name="connsiteY2" fmla="*/ 698868 h 899592"/>
                <a:gd name="connsiteX3" fmla="*/ 1562855 w 3159036"/>
                <a:gd name="connsiteY3" fmla="*/ 744892 h 899592"/>
                <a:gd name="connsiteX4" fmla="*/ 1577957 w 3159036"/>
                <a:gd name="connsiteY4" fmla="*/ 787142 h 899592"/>
                <a:gd name="connsiteX5" fmla="*/ 1601653 w 3159036"/>
                <a:gd name="connsiteY5" fmla="*/ 824411 h 899592"/>
                <a:gd name="connsiteX6" fmla="*/ 1632739 w 3159036"/>
                <a:gd name="connsiteY6" fmla="*/ 855495 h 899592"/>
                <a:gd name="connsiteX7" fmla="*/ 1670008 w 3159036"/>
                <a:gd name="connsiteY7" fmla="*/ 879190 h 899592"/>
                <a:gd name="connsiteX8" fmla="*/ 1712256 w 3159036"/>
                <a:gd name="connsiteY8" fmla="*/ 894290 h 899592"/>
                <a:gd name="connsiteX9" fmla="*/ 1758276 w 3159036"/>
                <a:gd name="connsiteY9" fmla="*/ 899591 h 899592"/>
                <a:gd name="connsiteX10" fmla="*/ 1804301 w 3159036"/>
                <a:gd name="connsiteY10" fmla="*/ 894290 h 899592"/>
                <a:gd name="connsiteX11" fmla="*/ 1883819 w 3159036"/>
                <a:gd name="connsiteY11" fmla="*/ 855495 h 899592"/>
                <a:gd name="connsiteX12" fmla="*/ 1914904 w 3159036"/>
                <a:gd name="connsiteY12" fmla="*/ 824411 h 899592"/>
                <a:gd name="connsiteX13" fmla="*/ 1938598 w 3159036"/>
                <a:gd name="connsiteY13" fmla="*/ 787142 h 899592"/>
                <a:gd name="connsiteX14" fmla="*/ 1953699 w 3159036"/>
                <a:gd name="connsiteY14" fmla="*/ 744892 h 899592"/>
                <a:gd name="connsiteX15" fmla="*/ 1959000 w 3159036"/>
                <a:gd name="connsiteY15" fmla="*/ 698868 h 899592"/>
                <a:gd name="connsiteX16" fmla="*/ 1958975 w 3159036"/>
                <a:gd name="connsiteY16" fmla="*/ 698309 h 899592"/>
                <a:gd name="connsiteX0" fmla="*/ 3159036 w 3159036"/>
                <a:gd name="connsiteY0" fmla="*/ 0 h 899592"/>
                <a:gd name="connsiteX1" fmla="*/ 1081976 w 3159036"/>
                <a:gd name="connsiteY1" fmla="*/ 0 h 899592"/>
                <a:gd name="connsiteX2" fmla="*/ 0 w 3159036"/>
                <a:gd name="connsiteY2" fmla="*/ 698309 h 899592"/>
                <a:gd name="connsiteX3" fmla="*/ 2516225 w 3159036"/>
                <a:gd name="connsiteY3" fmla="*/ 698309 h 899592"/>
                <a:gd name="connsiteX4" fmla="*/ 2515730 w 3159036"/>
                <a:gd name="connsiteY4" fmla="*/ 698868 h 899592"/>
                <a:gd name="connsiteX5" fmla="*/ 3158540 w 3159036"/>
                <a:gd name="connsiteY5" fmla="*/ 558 h 899592"/>
                <a:gd name="connsiteX6" fmla="*/ 3159036 w 3159036"/>
                <a:gd name="connsiteY6" fmla="*/ 0 h 899592"/>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577957 w 3159036"/>
                <a:gd name="connsiteY4" fmla="*/ 787142 h 899591"/>
                <a:gd name="connsiteX5" fmla="*/ 1601653 w 3159036"/>
                <a:gd name="connsiteY5" fmla="*/ 824411 h 899591"/>
                <a:gd name="connsiteX6" fmla="*/ 1632739 w 3159036"/>
                <a:gd name="connsiteY6" fmla="*/ 855495 h 899591"/>
                <a:gd name="connsiteX7" fmla="*/ 1670008 w 3159036"/>
                <a:gd name="connsiteY7" fmla="*/ 879190 h 899591"/>
                <a:gd name="connsiteX8" fmla="*/ 1712256 w 3159036"/>
                <a:gd name="connsiteY8" fmla="*/ 894290 h 899591"/>
                <a:gd name="connsiteX9" fmla="*/ 1758276 w 3159036"/>
                <a:gd name="connsiteY9" fmla="*/ 899591 h 899591"/>
                <a:gd name="connsiteX10" fmla="*/ 1804301 w 3159036"/>
                <a:gd name="connsiteY10" fmla="*/ 894290 h 899591"/>
                <a:gd name="connsiteX11" fmla="*/ 1914904 w 3159036"/>
                <a:gd name="connsiteY11" fmla="*/ 824411 h 899591"/>
                <a:gd name="connsiteX12" fmla="*/ 1938598 w 3159036"/>
                <a:gd name="connsiteY12" fmla="*/ 787142 h 899591"/>
                <a:gd name="connsiteX13" fmla="*/ 1953699 w 3159036"/>
                <a:gd name="connsiteY13" fmla="*/ 744892 h 899591"/>
                <a:gd name="connsiteX14" fmla="*/ 1959000 w 3159036"/>
                <a:gd name="connsiteY14" fmla="*/ 698868 h 899591"/>
                <a:gd name="connsiteX15" fmla="*/ 1958975 w 3159036"/>
                <a:gd name="connsiteY15"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577957 w 3159036"/>
                <a:gd name="connsiteY4" fmla="*/ 787142 h 899591"/>
                <a:gd name="connsiteX5" fmla="*/ 1601653 w 3159036"/>
                <a:gd name="connsiteY5" fmla="*/ 824411 h 899591"/>
                <a:gd name="connsiteX6" fmla="*/ 1632739 w 3159036"/>
                <a:gd name="connsiteY6" fmla="*/ 855495 h 899591"/>
                <a:gd name="connsiteX7" fmla="*/ 1670008 w 3159036"/>
                <a:gd name="connsiteY7" fmla="*/ 879190 h 899591"/>
                <a:gd name="connsiteX8" fmla="*/ 1712256 w 3159036"/>
                <a:gd name="connsiteY8" fmla="*/ 894290 h 899591"/>
                <a:gd name="connsiteX9" fmla="*/ 1758276 w 3159036"/>
                <a:gd name="connsiteY9" fmla="*/ 899591 h 899591"/>
                <a:gd name="connsiteX10" fmla="*/ 1804301 w 3159036"/>
                <a:gd name="connsiteY10" fmla="*/ 894290 h 899591"/>
                <a:gd name="connsiteX11" fmla="*/ 1938598 w 3159036"/>
                <a:gd name="connsiteY11" fmla="*/ 787142 h 899591"/>
                <a:gd name="connsiteX12" fmla="*/ 1953699 w 3159036"/>
                <a:gd name="connsiteY12" fmla="*/ 744892 h 899591"/>
                <a:gd name="connsiteX13" fmla="*/ 1959000 w 3159036"/>
                <a:gd name="connsiteY13" fmla="*/ 698868 h 899591"/>
                <a:gd name="connsiteX14" fmla="*/ 1958975 w 3159036"/>
                <a:gd name="connsiteY14"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577957 w 3159036"/>
                <a:gd name="connsiteY4" fmla="*/ 787142 h 899591"/>
                <a:gd name="connsiteX5" fmla="*/ 1601653 w 3159036"/>
                <a:gd name="connsiteY5" fmla="*/ 824411 h 899591"/>
                <a:gd name="connsiteX6" fmla="*/ 1632739 w 3159036"/>
                <a:gd name="connsiteY6" fmla="*/ 855495 h 899591"/>
                <a:gd name="connsiteX7" fmla="*/ 1670008 w 3159036"/>
                <a:gd name="connsiteY7" fmla="*/ 879190 h 899591"/>
                <a:gd name="connsiteX8" fmla="*/ 1712256 w 3159036"/>
                <a:gd name="connsiteY8" fmla="*/ 894290 h 899591"/>
                <a:gd name="connsiteX9" fmla="*/ 1758276 w 3159036"/>
                <a:gd name="connsiteY9" fmla="*/ 899591 h 899591"/>
                <a:gd name="connsiteX10" fmla="*/ 1804301 w 3159036"/>
                <a:gd name="connsiteY10" fmla="*/ 894290 h 899591"/>
                <a:gd name="connsiteX11" fmla="*/ 1953699 w 3159036"/>
                <a:gd name="connsiteY11" fmla="*/ 744892 h 899591"/>
                <a:gd name="connsiteX12" fmla="*/ 1959000 w 3159036"/>
                <a:gd name="connsiteY12" fmla="*/ 698868 h 899591"/>
                <a:gd name="connsiteX13" fmla="*/ 1958975 w 3159036"/>
                <a:gd name="connsiteY13"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577957 w 3159036"/>
                <a:gd name="connsiteY4" fmla="*/ 787142 h 899591"/>
                <a:gd name="connsiteX5" fmla="*/ 1601653 w 3159036"/>
                <a:gd name="connsiteY5" fmla="*/ 824411 h 899591"/>
                <a:gd name="connsiteX6" fmla="*/ 1632739 w 3159036"/>
                <a:gd name="connsiteY6" fmla="*/ 855495 h 899591"/>
                <a:gd name="connsiteX7" fmla="*/ 1670008 w 3159036"/>
                <a:gd name="connsiteY7" fmla="*/ 879190 h 899591"/>
                <a:gd name="connsiteX8" fmla="*/ 1712256 w 3159036"/>
                <a:gd name="connsiteY8" fmla="*/ 894290 h 899591"/>
                <a:gd name="connsiteX9" fmla="*/ 1758276 w 3159036"/>
                <a:gd name="connsiteY9" fmla="*/ 899591 h 899591"/>
                <a:gd name="connsiteX10" fmla="*/ 1804301 w 3159036"/>
                <a:gd name="connsiteY10" fmla="*/ 894290 h 899591"/>
                <a:gd name="connsiteX11" fmla="*/ 1959000 w 3159036"/>
                <a:gd name="connsiteY11" fmla="*/ 698868 h 899591"/>
                <a:gd name="connsiteX12" fmla="*/ 1958975 w 3159036"/>
                <a:gd name="connsiteY12"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601653 w 3159036"/>
                <a:gd name="connsiteY4" fmla="*/ 824411 h 899591"/>
                <a:gd name="connsiteX5" fmla="*/ 1632739 w 3159036"/>
                <a:gd name="connsiteY5" fmla="*/ 855495 h 899591"/>
                <a:gd name="connsiteX6" fmla="*/ 1670008 w 3159036"/>
                <a:gd name="connsiteY6" fmla="*/ 879190 h 899591"/>
                <a:gd name="connsiteX7" fmla="*/ 1712256 w 3159036"/>
                <a:gd name="connsiteY7" fmla="*/ 894290 h 899591"/>
                <a:gd name="connsiteX8" fmla="*/ 1758276 w 3159036"/>
                <a:gd name="connsiteY8" fmla="*/ 899591 h 899591"/>
                <a:gd name="connsiteX9" fmla="*/ 1804301 w 3159036"/>
                <a:gd name="connsiteY9" fmla="*/ 894290 h 899591"/>
                <a:gd name="connsiteX10" fmla="*/ 1959000 w 3159036"/>
                <a:gd name="connsiteY10" fmla="*/ 698868 h 899591"/>
                <a:gd name="connsiteX11" fmla="*/ 1958975 w 3159036"/>
                <a:gd name="connsiteY11"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601653 w 3159036"/>
                <a:gd name="connsiteY3" fmla="*/ 824411 h 899591"/>
                <a:gd name="connsiteX4" fmla="*/ 1632739 w 3159036"/>
                <a:gd name="connsiteY4" fmla="*/ 855495 h 899591"/>
                <a:gd name="connsiteX5" fmla="*/ 1670008 w 3159036"/>
                <a:gd name="connsiteY5" fmla="*/ 879190 h 899591"/>
                <a:gd name="connsiteX6" fmla="*/ 1712256 w 3159036"/>
                <a:gd name="connsiteY6" fmla="*/ 894290 h 899591"/>
                <a:gd name="connsiteX7" fmla="*/ 1758276 w 3159036"/>
                <a:gd name="connsiteY7" fmla="*/ 899591 h 899591"/>
                <a:gd name="connsiteX8" fmla="*/ 1804301 w 3159036"/>
                <a:gd name="connsiteY8" fmla="*/ 894290 h 899591"/>
                <a:gd name="connsiteX9" fmla="*/ 1959000 w 3159036"/>
                <a:gd name="connsiteY9" fmla="*/ 698868 h 899591"/>
                <a:gd name="connsiteX10" fmla="*/ 1958975 w 3159036"/>
                <a:gd name="connsiteY10"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632739 w 3159036"/>
                <a:gd name="connsiteY3" fmla="*/ 855495 h 899591"/>
                <a:gd name="connsiteX4" fmla="*/ 1670008 w 3159036"/>
                <a:gd name="connsiteY4" fmla="*/ 879190 h 899591"/>
                <a:gd name="connsiteX5" fmla="*/ 1712256 w 3159036"/>
                <a:gd name="connsiteY5" fmla="*/ 894290 h 899591"/>
                <a:gd name="connsiteX6" fmla="*/ 1758276 w 3159036"/>
                <a:gd name="connsiteY6" fmla="*/ 899591 h 899591"/>
                <a:gd name="connsiteX7" fmla="*/ 1804301 w 3159036"/>
                <a:gd name="connsiteY7" fmla="*/ 894290 h 899591"/>
                <a:gd name="connsiteX8" fmla="*/ 1959000 w 3159036"/>
                <a:gd name="connsiteY8" fmla="*/ 698868 h 899591"/>
                <a:gd name="connsiteX9" fmla="*/ 1958975 w 3159036"/>
                <a:gd name="connsiteY9"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670008 w 3159036"/>
                <a:gd name="connsiteY3" fmla="*/ 879190 h 899591"/>
                <a:gd name="connsiteX4" fmla="*/ 1712256 w 3159036"/>
                <a:gd name="connsiteY4" fmla="*/ 894290 h 899591"/>
                <a:gd name="connsiteX5" fmla="*/ 1758276 w 3159036"/>
                <a:gd name="connsiteY5" fmla="*/ 899591 h 899591"/>
                <a:gd name="connsiteX6" fmla="*/ 1804301 w 3159036"/>
                <a:gd name="connsiteY6" fmla="*/ 894290 h 899591"/>
                <a:gd name="connsiteX7" fmla="*/ 1959000 w 3159036"/>
                <a:gd name="connsiteY7" fmla="*/ 698868 h 899591"/>
                <a:gd name="connsiteX8" fmla="*/ 1958975 w 3159036"/>
                <a:gd name="connsiteY8"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712256 w 3159036"/>
                <a:gd name="connsiteY3" fmla="*/ 894290 h 899591"/>
                <a:gd name="connsiteX4" fmla="*/ 1758276 w 3159036"/>
                <a:gd name="connsiteY4" fmla="*/ 899591 h 899591"/>
                <a:gd name="connsiteX5" fmla="*/ 1804301 w 3159036"/>
                <a:gd name="connsiteY5" fmla="*/ 894290 h 899591"/>
                <a:gd name="connsiteX6" fmla="*/ 1959000 w 3159036"/>
                <a:gd name="connsiteY6" fmla="*/ 698868 h 899591"/>
                <a:gd name="connsiteX7" fmla="*/ 1958975 w 3159036"/>
                <a:gd name="connsiteY7"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758276 w 3159036"/>
                <a:gd name="connsiteY3" fmla="*/ 899591 h 899591"/>
                <a:gd name="connsiteX4" fmla="*/ 1804301 w 3159036"/>
                <a:gd name="connsiteY4" fmla="*/ 894290 h 899591"/>
                <a:gd name="connsiteX5" fmla="*/ 1959000 w 3159036"/>
                <a:gd name="connsiteY5" fmla="*/ 698868 h 899591"/>
                <a:gd name="connsiteX6" fmla="*/ 1958975 w 3159036"/>
                <a:gd name="connsiteY6"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4290"/>
                <a:gd name="connsiteX1" fmla="*/ 1557591 w 3159036"/>
                <a:gd name="connsiteY1" fmla="*/ 698309 h 894290"/>
                <a:gd name="connsiteX2" fmla="*/ 1557553 w 3159036"/>
                <a:gd name="connsiteY2" fmla="*/ 698868 h 894290"/>
                <a:gd name="connsiteX3" fmla="*/ 1804301 w 3159036"/>
                <a:gd name="connsiteY3" fmla="*/ 894290 h 894290"/>
                <a:gd name="connsiteX4" fmla="*/ 1959000 w 3159036"/>
                <a:gd name="connsiteY4" fmla="*/ 698868 h 894290"/>
                <a:gd name="connsiteX5" fmla="*/ 1958975 w 3159036"/>
                <a:gd name="connsiteY5" fmla="*/ 698309 h 894290"/>
                <a:gd name="connsiteX0" fmla="*/ 3159036 w 3159036"/>
                <a:gd name="connsiteY0" fmla="*/ 0 h 894290"/>
                <a:gd name="connsiteX1" fmla="*/ 1081976 w 3159036"/>
                <a:gd name="connsiteY1" fmla="*/ 0 h 894290"/>
                <a:gd name="connsiteX2" fmla="*/ 0 w 3159036"/>
                <a:gd name="connsiteY2" fmla="*/ 698309 h 894290"/>
                <a:gd name="connsiteX3" fmla="*/ 2516225 w 3159036"/>
                <a:gd name="connsiteY3" fmla="*/ 698309 h 894290"/>
                <a:gd name="connsiteX4" fmla="*/ 2515730 w 3159036"/>
                <a:gd name="connsiteY4" fmla="*/ 698868 h 894290"/>
                <a:gd name="connsiteX5" fmla="*/ 3158540 w 3159036"/>
                <a:gd name="connsiteY5" fmla="*/ 558 h 894290"/>
                <a:gd name="connsiteX6" fmla="*/ 3159036 w 3159036"/>
                <a:gd name="connsiteY6" fmla="*/ 0 h 894290"/>
                <a:gd name="connsiteX0" fmla="*/ 1958975 w 3159036"/>
                <a:gd name="connsiteY0" fmla="*/ 698309 h 698868"/>
                <a:gd name="connsiteX1" fmla="*/ 1557591 w 3159036"/>
                <a:gd name="connsiteY1" fmla="*/ 698309 h 698868"/>
                <a:gd name="connsiteX2" fmla="*/ 1557553 w 3159036"/>
                <a:gd name="connsiteY2" fmla="*/ 698868 h 698868"/>
                <a:gd name="connsiteX3" fmla="*/ 1959000 w 3159036"/>
                <a:gd name="connsiteY3" fmla="*/ 698868 h 698868"/>
                <a:gd name="connsiteX4" fmla="*/ 1958975 w 3159036"/>
                <a:gd name="connsiteY4" fmla="*/ 698309 h 698868"/>
                <a:gd name="connsiteX0" fmla="*/ 3159036 w 3159036"/>
                <a:gd name="connsiteY0" fmla="*/ 0 h 698868"/>
                <a:gd name="connsiteX1" fmla="*/ 1081976 w 3159036"/>
                <a:gd name="connsiteY1" fmla="*/ 0 h 698868"/>
                <a:gd name="connsiteX2" fmla="*/ 0 w 3159036"/>
                <a:gd name="connsiteY2" fmla="*/ 698309 h 698868"/>
                <a:gd name="connsiteX3" fmla="*/ 2516225 w 3159036"/>
                <a:gd name="connsiteY3" fmla="*/ 698309 h 698868"/>
                <a:gd name="connsiteX4" fmla="*/ 2515730 w 3159036"/>
                <a:gd name="connsiteY4" fmla="*/ 698868 h 698868"/>
                <a:gd name="connsiteX5" fmla="*/ 3158540 w 3159036"/>
                <a:gd name="connsiteY5" fmla="*/ 558 h 698868"/>
                <a:gd name="connsiteX6" fmla="*/ 3159036 w 3159036"/>
                <a:gd name="connsiteY6" fmla="*/ 0 h 69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9036" h="698868">
                  <a:moveTo>
                    <a:pt x="1958975" y="698309"/>
                  </a:moveTo>
                  <a:lnTo>
                    <a:pt x="1557591" y="698309"/>
                  </a:lnTo>
                  <a:cubicBezTo>
                    <a:pt x="1557578" y="698495"/>
                    <a:pt x="1557566" y="698682"/>
                    <a:pt x="1557553" y="698868"/>
                  </a:cubicBezTo>
                  <a:lnTo>
                    <a:pt x="1959000" y="698868"/>
                  </a:lnTo>
                  <a:cubicBezTo>
                    <a:pt x="1958992" y="698682"/>
                    <a:pt x="1958983" y="698495"/>
                    <a:pt x="1958975" y="698309"/>
                  </a:cubicBezTo>
                  <a:close/>
                </a:path>
                <a:path w="3159036" h="698868">
                  <a:moveTo>
                    <a:pt x="3159036" y="0"/>
                  </a:moveTo>
                  <a:lnTo>
                    <a:pt x="1081976" y="0"/>
                  </a:lnTo>
                  <a:lnTo>
                    <a:pt x="0" y="698309"/>
                  </a:lnTo>
                  <a:lnTo>
                    <a:pt x="2516225" y="698309"/>
                  </a:lnTo>
                  <a:lnTo>
                    <a:pt x="2515730" y="698868"/>
                  </a:lnTo>
                  <a:lnTo>
                    <a:pt x="3158540" y="558"/>
                  </a:lnTo>
                  <a:lnTo>
                    <a:pt x="3159036" y="0"/>
                  </a:lnTo>
                  <a:close/>
                </a:path>
              </a:pathLst>
            </a:custGeom>
            <a:solidFill>
              <a:schemeClr val="accent1">
                <a:lumMod val="20000"/>
                <a:lumOff val="80000"/>
              </a:schemeClr>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sp>
          <p:nvSpPr>
            <p:cNvPr id="27" name="bk object 24">
              <a:extLst>
                <a:ext uri="{FF2B5EF4-FFF2-40B4-BE49-F238E27FC236}">
                  <a16:creationId xmlns:a16="http://schemas.microsoft.com/office/drawing/2014/main" id="{35A78820-1DC2-549D-446F-127540B531A4}"/>
                </a:ext>
              </a:extLst>
            </p:cNvPr>
            <p:cNvSpPr>
              <a:spLocks/>
            </p:cNvSpPr>
            <p:nvPr/>
          </p:nvSpPr>
          <p:spPr bwMode="auto">
            <a:xfrm>
              <a:off x="4410333" y="3452212"/>
              <a:ext cx="1668826" cy="381013"/>
            </a:xfrm>
            <a:custGeom>
              <a:avLst/>
              <a:gdLst>
                <a:gd name="T0" fmla="*/ 1958975 w 3159125"/>
                <a:gd name="T1" fmla="*/ 698297 h 899795"/>
                <a:gd name="T2" fmla="*/ 1557591 w 3159125"/>
                <a:gd name="T3" fmla="*/ 698297 h 899795"/>
                <a:gd name="T4" fmla="*/ 1557553 w 3159125"/>
                <a:gd name="T5" fmla="*/ 698856 h 899795"/>
                <a:gd name="T6" fmla="*/ 1562855 w 3159125"/>
                <a:gd name="T7" fmla="*/ 744880 h 899795"/>
                <a:gd name="T8" fmla="*/ 1577957 w 3159125"/>
                <a:gd name="T9" fmla="*/ 787130 h 899795"/>
                <a:gd name="T10" fmla="*/ 1601653 w 3159125"/>
                <a:gd name="T11" fmla="*/ 824399 h 899795"/>
                <a:gd name="T12" fmla="*/ 1632739 w 3159125"/>
                <a:gd name="T13" fmla="*/ 855483 h 899795"/>
                <a:gd name="T14" fmla="*/ 1670008 w 3159125"/>
                <a:gd name="T15" fmla="*/ 879178 h 899795"/>
                <a:gd name="T16" fmla="*/ 1712256 w 3159125"/>
                <a:gd name="T17" fmla="*/ 894278 h 899795"/>
                <a:gd name="T18" fmla="*/ 1758276 w 3159125"/>
                <a:gd name="T19" fmla="*/ 899579 h 899795"/>
                <a:gd name="T20" fmla="*/ 1804301 w 3159125"/>
                <a:gd name="T21" fmla="*/ 894278 h 899795"/>
                <a:gd name="T22" fmla="*/ 1846550 w 3159125"/>
                <a:gd name="T23" fmla="*/ 879178 h 899795"/>
                <a:gd name="T24" fmla="*/ 1883819 w 3159125"/>
                <a:gd name="T25" fmla="*/ 855483 h 899795"/>
                <a:gd name="T26" fmla="*/ 1914904 w 3159125"/>
                <a:gd name="T27" fmla="*/ 824399 h 899795"/>
                <a:gd name="T28" fmla="*/ 1938598 w 3159125"/>
                <a:gd name="T29" fmla="*/ 787130 h 899795"/>
                <a:gd name="T30" fmla="*/ 1953699 w 3159125"/>
                <a:gd name="T31" fmla="*/ 744880 h 899795"/>
                <a:gd name="T32" fmla="*/ 1959000 w 3159125"/>
                <a:gd name="T33" fmla="*/ 698856 h 899795"/>
                <a:gd name="T34" fmla="*/ 1958975 w 3159125"/>
                <a:gd name="T35" fmla="*/ 698297 h 899795"/>
                <a:gd name="T36" fmla="*/ 3159036 w 3159125"/>
                <a:gd name="T37" fmla="*/ 0 h 899795"/>
                <a:gd name="T38" fmla="*/ 1081976 w 3159125"/>
                <a:gd name="T39" fmla="*/ 0 h 899795"/>
                <a:gd name="T40" fmla="*/ 0 w 3159125"/>
                <a:gd name="T41" fmla="*/ 698297 h 899795"/>
                <a:gd name="T42" fmla="*/ 2516225 w 3159125"/>
                <a:gd name="T43" fmla="*/ 698297 h 899795"/>
                <a:gd name="T44" fmla="*/ 2515730 w 3159125"/>
                <a:gd name="T45" fmla="*/ 698856 h 899795"/>
                <a:gd name="T46" fmla="*/ 3158540 w 3159125"/>
                <a:gd name="T47" fmla="*/ 558 h 899795"/>
                <a:gd name="T48" fmla="*/ 3159036 w 3159125"/>
                <a:gd name="T49" fmla="*/ 0 h 89979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connsiteX0" fmla="*/ 1958975 w 3159036"/>
                <a:gd name="connsiteY0" fmla="*/ 698309 h 899592"/>
                <a:gd name="connsiteX1" fmla="*/ 1557591 w 3159036"/>
                <a:gd name="connsiteY1" fmla="*/ 698309 h 899592"/>
                <a:gd name="connsiteX2" fmla="*/ 1557553 w 3159036"/>
                <a:gd name="connsiteY2" fmla="*/ 698868 h 899592"/>
                <a:gd name="connsiteX3" fmla="*/ 1562855 w 3159036"/>
                <a:gd name="connsiteY3" fmla="*/ 744892 h 899592"/>
                <a:gd name="connsiteX4" fmla="*/ 1577957 w 3159036"/>
                <a:gd name="connsiteY4" fmla="*/ 787142 h 899592"/>
                <a:gd name="connsiteX5" fmla="*/ 1601653 w 3159036"/>
                <a:gd name="connsiteY5" fmla="*/ 824411 h 899592"/>
                <a:gd name="connsiteX6" fmla="*/ 1632739 w 3159036"/>
                <a:gd name="connsiteY6" fmla="*/ 855495 h 899592"/>
                <a:gd name="connsiteX7" fmla="*/ 1670008 w 3159036"/>
                <a:gd name="connsiteY7" fmla="*/ 879190 h 899592"/>
                <a:gd name="connsiteX8" fmla="*/ 1712256 w 3159036"/>
                <a:gd name="connsiteY8" fmla="*/ 894290 h 899592"/>
                <a:gd name="connsiteX9" fmla="*/ 1758276 w 3159036"/>
                <a:gd name="connsiteY9" fmla="*/ 899591 h 899592"/>
                <a:gd name="connsiteX10" fmla="*/ 1804301 w 3159036"/>
                <a:gd name="connsiteY10" fmla="*/ 894290 h 899592"/>
                <a:gd name="connsiteX11" fmla="*/ 1883819 w 3159036"/>
                <a:gd name="connsiteY11" fmla="*/ 855495 h 899592"/>
                <a:gd name="connsiteX12" fmla="*/ 1914904 w 3159036"/>
                <a:gd name="connsiteY12" fmla="*/ 824411 h 899592"/>
                <a:gd name="connsiteX13" fmla="*/ 1938598 w 3159036"/>
                <a:gd name="connsiteY13" fmla="*/ 787142 h 899592"/>
                <a:gd name="connsiteX14" fmla="*/ 1953699 w 3159036"/>
                <a:gd name="connsiteY14" fmla="*/ 744892 h 899592"/>
                <a:gd name="connsiteX15" fmla="*/ 1959000 w 3159036"/>
                <a:gd name="connsiteY15" fmla="*/ 698868 h 899592"/>
                <a:gd name="connsiteX16" fmla="*/ 1958975 w 3159036"/>
                <a:gd name="connsiteY16" fmla="*/ 698309 h 899592"/>
                <a:gd name="connsiteX0" fmla="*/ 3159036 w 3159036"/>
                <a:gd name="connsiteY0" fmla="*/ 0 h 899592"/>
                <a:gd name="connsiteX1" fmla="*/ 1081976 w 3159036"/>
                <a:gd name="connsiteY1" fmla="*/ 0 h 899592"/>
                <a:gd name="connsiteX2" fmla="*/ 0 w 3159036"/>
                <a:gd name="connsiteY2" fmla="*/ 698309 h 899592"/>
                <a:gd name="connsiteX3" fmla="*/ 2516225 w 3159036"/>
                <a:gd name="connsiteY3" fmla="*/ 698309 h 899592"/>
                <a:gd name="connsiteX4" fmla="*/ 2515730 w 3159036"/>
                <a:gd name="connsiteY4" fmla="*/ 698868 h 899592"/>
                <a:gd name="connsiteX5" fmla="*/ 3158540 w 3159036"/>
                <a:gd name="connsiteY5" fmla="*/ 558 h 899592"/>
                <a:gd name="connsiteX6" fmla="*/ 3159036 w 3159036"/>
                <a:gd name="connsiteY6" fmla="*/ 0 h 899592"/>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577957 w 3159036"/>
                <a:gd name="connsiteY4" fmla="*/ 787142 h 899591"/>
                <a:gd name="connsiteX5" fmla="*/ 1601653 w 3159036"/>
                <a:gd name="connsiteY5" fmla="*/ 824411 h 899591"/>
                <a:gd name="connsiteX6" fmla="*/ 1632739 w 3159036"/>
                <a:gd name="connsiteY6" fmla="*/ 855495 h 899591"/>
                <a:gd name="connsiteX7" fmla="*/ 1670008 w 3159036"/>
                <a:gd name="connsiteY7" fmla="*/ 879190 h 899591"/>
                <a:gd name="connsiteX8" fmla="*/ 1712256 w 3159036"/>
                <a:gd name="connsiteY8" fmla="*/ 894290 h 899591"/>
                <a:gd name="connsiteX9" fmla="*/ 1758276 w 3159036"/>
                <a:gd name="connsiteY9" fmla="*/ 899591 h 899591"/>
                <a:gd name="connsiteX10" fmla="*/ 1804301 w 3159036"/>
                <a:gd name="connsiteY10" fmla="*/ 894290 h 899591"/>
                <a:gd name="connsiteX11" fmla="*/ 1914904 w 3159036"/>
                <a:gd name="connsiteY11" fmla="*/ 824411 h 899591"/>
                <a:gd name="connsiteX12" fmla="*/ 1938598 w 3159036"/>
                <a:gd name="connsiteY12" fmla="*/ 787142 h 899591"/>
                <a:gd name="connsiteX13" fmla="*/ 1953699 w 3159036"/>
                <a:gd name="connsiteY13" fmla="*/ 744892 h 899591"/>
                <a:gd name="connsiteX14" fmla="*/ 1959000 w 3159036"/>
                <a:gd name="connsiteY14" fmla="*/ 698868 h 899591"/>
                <a:gd name="connsiteX15" fmla="*/ 1958975 w 3159036"/>
                <a:gd name="connsiteY15"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577957 w 3159036"/>
                <a:gd name="connsiteY4" fmla="*/ 787142 h 899591"/>
                <a:gd name="connsiteX5" fmla="*/ 1601653 w 3159036"/>
                <a:gd name="connsiteY5" fmla="*/ 824411 h 899591"/>
                <a:gd name="connsiteX6" fmla="*/ 1632739 w 3159036"/>
                <a:gd name="connsiteY6" fmla="*/ 855495 h 899591"/>
                <a:gd name="connsiteX7" fmla="*/ 1670008 w 3159036"/>
                <a:gd name="connsiteY7" fmla="*/ 879190 h 899591"/>
                <a:gd name="connsiteX8" fmla="*/ 1712256 w 3159036"/>
                <a:gd name="connsiteY8" fmla="*/ 894290 h 899591"/>
                <a:gd name="connsiteX9" fmla="*/ 1758276 w 3159036"/>
                <a:gd name="connsiteY9" fmla="*/ 899591 h 899591"/>
                <a:gd name="connsiteX10" fmla="*/ 1804301 w 3159036"/>
                <a:gd name="connsiteY10" fmla="*/ 894290 h 899591"/>
                <a:gd name="connsiteX11" fmla="*/ 1938598 w 3159036"/>
                <a:gd name="connsiteY11" fmla="*/ 787142 h 899591"/>
                <a:gd name="connsiteX12" fmla="*/ 1953699 w 3159036"/>
                <a:gd name="connsiteY12" fmla="*/ 744892 h 899591"/>
                <a:gd name="connsiteX13" fmla="*/ 1959000 w 3159036"/>
                <a:gd name="connsiteY13" fmla="*/ 698868 h 899591"/>
                <a:gd name="connsiteX14" fmla="*/ 1958975 w 3159036"/>
                <a:gd name="connsiteY14"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577957 w 3159036"/>
                <a:gd name="connsiteY4" fmla="*/ 787142 h 899591"/>
                <a:gd name="connsiteX5" fmla="*/ 1601653 w 3159036"/>
                <a:gd name="connsiteY5" fmla="*/ 824411 h 899591"/>
                <a:gd name="connsiteX6" fmla="*/ 1632739 w 3159036"/>
                <a:gd name="connsiteY6" fmla="*/ 855495 h 899591"/>
                <a:gd name="connsiteX7" fmla="*/ 1670008 w 3159036"/>
                <a:gd name="connsiteY7" fmla="*/ 879190 h 899591"/>
                <a:gd name="connsiteX8" fmla="*/ 1712256 w 3159036"/>
                <a:gd name="connsiteY8" fmla="*/ 894290 h 899591"/>
                <a:gd name="connsiteX9" fmla="*/ 1758276 w 3159036"/>
                <a:gd name="connsiteY9" fmla="*/ 899591 h 899591"/>
                <a:gd name="connsiteX10" fmla="*/ 1804301 w 3159036"/>
                <a:gd name="connsiteY10" fmla="*/ 894290 h 899591"/>
                <a:gd name="connsiteX11" fmla="*/ 1953699 w 3159036"/>
                <a:gd name="connsiteY11" fmla="*/ 744892 h 899591"/>
                <a:gd name="connsiteX12" fmla="*/ 1959000 w 3159036"/>
                <a:gd name="connsiteY12" fmla="*/ 698868 h 899591"/>
                <a:gd name="connsiteX13" fmla="*/ 1958975 w 3159036"/>
                <a:gd name="connsiteY13"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577957 w 3159036"/>
                <a:gd name="connsiteY4" fmla="*/ 787142 h 899591"/>
                <a:gd name="connsiteX5" fmla="*/ 1601653 w 3159036"/>
                <a:gd name="connsiteY5" fmla="*/ 824411 h 899591"/>
                <a:gd name="connsiteX6" fmla="*/ 1632739 w 3159036"/>
                <a:gd name="connsiteY6" fmla="*/ 855495 h 899591"/>
                <a:gd name="connsiteX7" fmla="*/ 1670008 w 3159036"/>
                <a:gd name="connsiteY7" fmla="*/ 879190 h 899591"/>
                <a:gd name="connsiteX8" fmla="*/ 1712256 w 3159036"/>
                <a:gd name="connsiteY8" fmla="*/ 894290 h 899591"/>
                <a:gd name="connsiteX9" fmla="*/ 1758276 w 3159036"/>
                <a:gd name="connsiteY9" fmla="*/ 899591 h 899591"/>
                <a:gd name="connsiteX10" fmla="*/ 1804301 w 3159036"/>
                <a:gd name="connsiteY10" fmla="*/ 894290 h 899591"/>
                <a:gd name="connsiteX11" fmla="*/ 1959000 w 3159036"/>
                <a:gd name="connsiteY11" fmla="*/ 698868 h 899591"/>
                <a:gd name="connsiteX12" fmla="*/ 1958975 w 3159036"/>
                <a:gd name="connsiteY12"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562855 w 3159036"/>
                <a:gd name="connsiteY3" fmla="*/ 744892 h 899591"/>
                <a:gd name="connsiteX4" fmla="*/ 1601653 w 3159036"/>
                <a:gd name="connsiteY4" fmla="*/ 824411 h 899591"/>
                <a:gd name="connsiteX5" fmla="*/ 1632739 w 3159036"/>
                <a:gd name="connsiteY5" fmla="*/ 855495 h 899591"/>
                <a:gd name="connsiteX6" fmla="*/ 1670008 w 3159036"/>
                <a:gd name="connsiteY6" fmla="*/ 879190 h 899591"/>
                <a:gd name="connsiteX7" fmla="*/ 1712256 w 3159036"/>
                <a:gd name="connsiteY7" fmla="*/ 894290 h 899591"/>
                <a:gd name="connsiteX8" fmla="*/ 1758276 w 3159036"/>
                <a:gd name="connsiteY8" fmla="*/ 899591 h 899591"/>
                <a:gd name="connsiteX9" fmla="*/ 1804301 w 3159036"/>
                <a:gd name="connsiteY9" fmla="*/ 894290 h 899591"/>
                <a:gd name="connsiteX10" fmla="*/ 1959000 w 3159036"/>
                <a:gd name="connsiteY10" fmla="*/ 698868 h 899591"/>
                <a:gd name="connsiteX11" fmla="*/ 1958975 w 3159036"/>
                <a:gd name="connsiteY11"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601653 w 3159036"/>
                <a:gd name="connsiteY3" fmla="*/ 824411 h 899591"/>
                <a:gd name="connsiteX4" fmla="*/ 1632739 w 3159036"/>
                <a:gd name="connsiteY4" fmla="*/ 855495 h 899591"/>
                <a:gd name="connsiteX5" fmla="*/ 1670008 w 3159036"/>
                <a:gd name="connsiteY5" fmla="*/ 879190 h 899591"/>
                <a:gd name="connsiteX6" fmla="*/ 1712256 w 3159036"/>
                <a:gd name="connsiteY6" fmla="*/ 894290 h 899591"/>
                <a:gd name="connsiteX7" fmla="*/ 1758276 w 3159036"/>
                <a:gd name="connsiteY7" fmla="*/ 899591 h 899591"/>
                <a:gd name="connsiteX8" fmla="*/ 1804301 w 3159036"/>
                <a:gd name="connsiteY8" fmla="*/ 894290 h 899591"/>
                <a:gd name="connsiteX9" fmla="*/ 1959000 w 3159036"/>
                <a:gd name="connsiteY9" fmla="*/ 698868 h 899591"/>
                <a:gd name="connsiteX10" fmla="*/ 1958975 w 3159036"/>
                <a:gd name="connsiteY10"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632739 w 3159036"/>
                <a:gd name="connsiteY3" fmla="*/ 855495 h 899591"/>
                <a:gd name="connsiteX4" fmla="*/ 1670008 w 3159036"/>
                <a:gd name="connsiteY4" fmla="*/ 879190 h 899591"/>
                <a:gd name="connsiteX5" fmla="*/ 1712256 w 3159036"/>
                <a:gd name="connsiteY5" fmla="*/ 894290 h 899591"/>
                <a:gd name="connsiteX6" fmla="*/ 1758276 w 3159036"/>
                <a:gd name="connsiteY6" fmla="*/ 899591 h 899591"/>
                <a:gd name="connsiteX7" fmla="*/ 1804301 w 3159036"/>
                <a:gd name="connsiteY7" fmla="*/ 894290 h 899591"/>
                <a:gd name="connsiteX8" fmla="*/ 1959000 w 3159036"/>
                <a:gd name="connsiteY8" fmla="*/ 698868 h 899591"/>
                <a:gd name="connsiteX9" fmla="*/ 1958975 w 3159036"/>
                <a:gd name="connsiteY9"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670008 w 3159036"/>
                <a:gd name="connsiteY3" fmla="*/ 879190 h 899591"/>
                <a:gd name="connsiteX4" fmla="*/ 1712256 w 3159036"/>
                <a:gd name="connsiteY4" fmla="*/ 894290 h 899591"/>
                <a:gd name="connsiteX5" fmla="*/ 1758276 w 3159036"/>
                <a:gd name="connsiteY5" fmla="*/ 899591 h 899591"/>
                <a:gd name="connsiteX6" fmla="*/ 1804301 w 3159036"/>
                <a:gd name="connsiteY6" fmla="*/ 894290 h 899591"/>
                <a:gd name="connsiteX7" fmla="*/ 1959000 w 3159036"/>
                <a:gd name="connsiteY7" fmla="*/ 698868 h 899591"/>
                <a:gd name="connsiteX8" fmla="*/ 1958975 w 3159036"/>
                <a:gd name="connsiteY8"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712256 w 3159036"/>
                <a:gd name="connsiteY3" fmla="*/ 894290 h 899591"/>
                <a:gd name="connsiteX4" fmla="*/ 1758276 w 3159036"/>
                <a:gd name="connsiteY4" fmla="*/ 899591 h 899591"/>
                <a:gd name="connsiteX5" fmla="*/ 1804301 w 3159036"/>
                <a:gd name="connsiteY5" fmla="*/ 894290 h 899591"/>
                <a:gd name="connsiteX6" fmla="*/ 1959000 w 3159036"/>
                <a:gd name="connsiteY6" fmla="*/ 698868 h 899591"/>
                <a:gd name="connsiteX7" fmla="*/ 1958975 w 3159036"/>
                <a:gd name="connsiteY7"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9591"/>
                <a:gd name="connsiteX1" fmla="*/ 1557591 w 3159036"/>
                <a:gd name="connsiteY1" fmla="*/ 698309 h 899591"/>
                <a:gd name="connsiteX2" fmla="*/ 1557553 w 3159036"/>
                <a:gd name="connsiteY2" fmla="*/ 698868 h 899591"/>
                <a:gd name="connsiteX3" fmla="*/ 1758276 w 3159036"/>
                <a:gd name="connsiteY3" fmla="*/ 899591 h 899591"/>
                <a:gd name="connsiteX4" fmla="*/ 1804301 w 3159036"/>
                <a:gd name="connsiteY4" fmla="*/ 894290 h 899591"/>
                <a:gd name="connsiteX5" fmla="*/ 1959000 w 3159036"/>
                <a:gd name="connsiteY5" fmla="*/ 698868 h 899591"/>
                <a:gd name="connsiteX6" fmla="*/ 1958975 w 3159036"/>
                <a:gd name="connsiteY6" fmla="*/ 698309 h 899591"/>
                <a:gd name="connsiteX0" fmla="*/ 3159036 w 3159036"/>
                <a:gd name="connsiteY0" fmla="*/ 0 h 899591"/>
                <a:gd name="connsiteX1" fmla="*/ 1081976 w 3159036"/>
                <a:gd name="connsiteY1" fmla="*/ 0 h 899591"/>
                <a:gd name="connsiteX2" fmla="*/ 0 w 3159036"/>
                <a:gd name="connsiteY2" fmla="*/ 698309 h 899591"/>
                <a:gd name="connsiteX3" fmla="*/ 2516225 w 3159036"/>
                <a:gd name="connsiteY3" fmla="*/ 698309 h 899591"/>
                <a:gd name="connsiteX4" fmla="*/ 2515730 w 3159036"/>
                <a:gd name="connsiteY4" fmla="*/ 698868 h 899591"/>
                <a:gd name="connsiteX5" fmla="*/ 3158540 w 3159036"/>
                <a:gd name="connsiteY5" fmla="*/ 558 h 899591"/>
                <a:gd name="connsiteX6" fmla="*/ 3159036 w 3159036"/>
                <a:gd name="connsiteY6" fmla="*/ 0 h 899591"/>
                <a:gd name="connsiteX0" fmla="*/ 1958975 w 3159036"/>
                <a:gd name="connsiteY0" fmla="*/ 698309 h 894290"/>
                <a:gd name="connsiteX1" fmla="*/ 1557591 w 3159036"/>
                <a:gd name="connsiteY1" fmla="*/ 698309 h 894290"/>
                <a:gd name="connsiteX2" fmla="*/ 1557553 w 3159036"/>
                <a:gd name="connsiteY2" fmla="*/ 698868 h 894290"/>
                <a:gd name="connsiteX3" fmla="*/ 1804301 w 3159036"/>
                <a:gd name="connsiteY3" fmla="*/ 894290 h 894290"/>
                <a:gd name="connsiteX4" fmla="*/ 1959000 w 3159036"/>
                <a:gd name="connsiteY4" fmla="*/ 698868 h 894290"/>
                <a:gd name="connsiteX5" fmla="*/ 1958975 w 3159036"/>
                <a:gd name="connsiteY5" fmla="*/ 698309 h 894290"/>
                <a:gd name="connsiteX0" fmla="*/ 3159036 w 3159036"/>
                <a:gd name="connsiteY0" fmla="*/ 0 h 894290"/>
                <a:gd name="connsiteX1" fmla="*/ 1081976 w 3159036"/>
                <a:gd name="connsiteY1" fmla="*/ 0 h 894290"/>
                <a:gd name="connsiteX2" fmla="*/ 0 w 3159036"/>
                <a:gd name="connsiteY2" fmla="*/ 698309 h 894290"/>
                <a:gd name="connsiteX3" fmla="*/ 2516225 w 3159036"/>
                <a:gd name="connsiteY3" fmla="*/ 698309 h 894290"/>
                <a:gd name="connsiteX4" fmla="*/ 2515730 w 3159036"/>
                <a:gd name="connsiteY4" fmla="*/ 698868 h 894290"/>
                <a:gd name="connsiteX5" fmla="*/ 3158540 w 3159036"/>
                <a:gd name="connsiteY5" fmla="*/ 558 h 894290"/>
                <a:gd name="connsiteX6" fmla="*/ 3159036 w 3159036"/>
                <a:gd name="connsiteY6" fmla="*/ 0 h 894290"/>
                <a:gd name="connsiteX0" fmla="*/ 1958975 w 3159036"/>
                <a:gd name="connsiteY0" fmla="*/ 698309 h 698868"/>
                <a:gd name="connsiteX1" fmla="*/ 1557591 w 3159036"/>
                <a:gd name="connsiteY1" fmla="*/ 698309 h 698868"/>
                <a:gd name="connsiteX2" fmla="*/ 1557553 w 3159036"/>
                <a:gd name="connsiteY2" fmla="*/ 698868 h 698868"/>
                <a:gd name="connsiteX3" fmla="*/ 1959000 w 3159036"/>
                <a:gd name="connsiteY3" fmla="*/ 698868 h 698868"/>
                <a:gd name="connsiteX4" fmla="*/ 1958975 w 3159036"/>
                <a:gd name="connsiteY4" fmla="*/ 698309 h 698868"/>
                <a:gd name="connsiteX0" fmla="*/ 3159036 w 3159036"/>
                <a:gd name="connsiteY0" fmla="*/ 0 h 698868"/>
                <a:gd name="connsiteX1" fmla="*/ 1081976 w 3159036"/>
                <a:gd name="connsiteY1" fmla="*/ 0 h 698868"/>
                <a:gd name="connsiteX2" fmla="*/ 0 w 3159036"/>
                <a:gd name="connsiteY2" fmla="*/ 698309 h 698868"/>
                <a:gd name="connsiteX3" fmla="*/ 2516225 w 3159036"/>
                <a:gd name="connsiteY3" fmla="*/ 698309 h 698868"/>
                <a:gd name="connsiteX4" fmla="*/ 2515730 w 3159036"/>
                <a:gd name="connsiteY4" fmla="*/ 698868 h 698868"/>
                <a:gd name="connsiteX5" fmla="*/ 3158540 w 3159036"/>
                <a:gd name="connsiteY5" fmla="*/ 558 h 698868"/>
                <a:gd name="connsiteX6" fmla="*/ 3159036 w 3159036"/>
                <a:gd name="connsiteY6" fmla="*/ 0 h 698868"/>
                <a:gd name="connsiteX0" fmla="*/ 1958975 w 3159036"/>
                <a:gd name="connsiteY0" fmla="*/ 698309 h 698868"/>
                <a:gd name="connsiteX1" fmla="*/ 1557591 w 3159036"/>
                <a:gd name="connsiteY1" fmla="*/ 698309 h 698868"/>
                <a:gd name="connsiteX2" fmla="*/ 1557553 w 3159036"/>
                <a:gd name="connsiteY2" fmla="*/ 698868 h 698868"/>
                <a:gd name="connsiteX3" fmla="*/ 1959000 w 3159036"/>
                <a:gd name="connsiteY3" fmla="*/ 698868 h 698868"/>
                <a:gd name="connsiteX4" fmla="*/ 1958975 w 3159036"/>
                <a:gd name="connsiteY4" fmla="*/ 698309 h 698868"/>
                <a:gd name="connsiteX0" fmla="*/ 3159036 w 3159036"/>
                <a:gd name="connsiteY0" fmla="*/ 0 h 698868"/>
                <a:gd name="connsiteX1" fmla="*/ 1081976 w 3159036"/>
                <a:gd name="connsiteY1" fmla="*/ 0 h 698868"/>
                <a:gd name="connsiteX2" fmla="*/ 0 w 3159036"/>
                <a:gd name="connsiteY2" fmla="*/ 698309 h 698868"/>
                <a:gd name="connsiteX3" fmla="*/ 2516225 w 3159036"/>
                <a:gd name="connsiteY3" fmla="*/ 698309 h 698868"/>
                <a:gd name="connsiteX4" fmla="*/ 2673184 w 3159036"/>
                <a:gd name="connsiteY4" fmla="*/ 674498 h 698868"/>
                <a:gd name="connsiteX5" fmla="*/ 3158540 w 3159036"/>
                <a:gd name="connsiteY5" fmla="*/ 558 h 698868"/>
                <a:gd name="connsiteX6" fmla="*/ 3159036 w 3159036"/>
                <a:gd name="connsiteY6" fmla="*/ 0 h 698868"/>
                <a:gd name="connsiteX0" fmla="*/ 1958975 w 3159036"/>
                <a:gd name="connsiteY0" fmla="*/ 698309 h 706991"/>
                <a:gd name="connsiteX1" fmla="*/ 1557591 w 3159036"/>
                <a:gd name="connsiteY1" fmla="*/ 698309 h 706991"/>
                <a:gd name="connsiteX2" fmla="*/ 1557553 w 3159036"/>
                <a:gd name="connsiteY2" fmla="*/ 698868 h 706991"/>
                <a:gd name="connsiteX3" fmla="*/ 1959000 w 3159036"/>
                <a:gd name="connsiteY3" fmla="*/ 698868 h 706991"/>
                <a:gd name="connsiteX4" fmla="*/ 1958975 w 3159036"/>
                <a:gd name="connsiteY4" fmla="*/ 698309 h 706991"/>
                <a:gd name="connsiteX0" fmla="*/ 3159036 w 3159036"/>
                <a:gd name="connsiteY0" fmla="*/ 0 h 706991"/>
                <a:gd name="connsiteX1" fmla="*/ 1081976 w 3159036"/>
                <a:gd name="connsiteY1" fmla="*/ 0 h 706991"/>
                <a:gd name="connsiteX2" fmla="*/ 0 w 3159036"/>
                <a:gd name="connsiteY2" fmla="*/ 698309 h 706991"/>
                <a:gd name="connsiteX3" fmla="*/ 2516225 w 3159036"/>
                <a:gd name="connsiteY3" fmla="*/ 698309 h 706991"/>
                <a:gd name="connsiteX4" fmla="*/ 2689758 w 3159036"/>
                <a:gd name="connsiteY4" fmla="*/ 706991 h 706991"/>
                <a:gd name="connsiteX5" fmla="*/ 3158540 w 3159036"/>
                <a:gd name="connsiteY5" fmla="*/ 558 h 706991"/>
                <a:gd name="connsiteX6" fmla="*/ 3159036 w 3159036"/>
                <a:gd name="connsiteY6" fmla="*/ 0 h 70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9036" h="706991">
                  <a:moveTo>
                    <a:pt x="1958975" y="698309"/>
                  </a:moveTo>
                  <a:lnTo>
                    <a:pt x="1557591" y="698309"/>
                  </a:lnTo>
                  <a:cubicBezTo>
                    <a:pt x="1557578" y="698495"/>
                    <a:pt x="1557566" y="698682"/>
                    <a:pt x="1557553" y="698868"/>
                  </a:cubicBezTo>
                  <a:lnTo>
                    <a:pt x="1959000" y="698868"/>
                  </a:lnTo>
                  <a:cubicBezTo>
                    <a:pt x="1958992" y="698682"/>
                    <a:pt x="1958983" y="698495"/>
                    <a:pt x="1958975" y="698309"/>
                  </a:cubicBezTo>
                  <a:close/>
                </a:path>
                <a:path w="3159036" h="706991">
                  <a:moveTo>
                    <a:pt x="3159036" y="0"/>
                  </a:moveTo>
                  <a:lnTo>
                    <a:pt x="1081976" y="0"/>
                  </a:lnTo>
                  <a:lnTo>
                    <a:pt x="0" y="698309"/>
                  </a:lnTo>
                  <a:lnTo>
                    <a:pt x="2516225" y="698309"/>
                  </a:lnTo>
                  <a:lnTo>
                    <a:pt x="2689758" y="706991"/>
                  </a:lnTo>
                  <a:lnTo>
                    <a:pt x="3158540" y="558"/>
                  </a:lnTo>
                  <a:lnTo>
                    <a:pt x="3159036" y="0"/>
                  </a:lnTo>
                  <a:close/>
                </a:path>
              </a:pathLst>
            </a:custGeom>
            <a:solidFill>
              <a:schemeClr val="accent1">
                <a:lumMod val="20000"/>
                <a:lumOff val="80000"/>
              </a:schemeClr>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grpSp>
      <p:grpSp>
        <p:nvGrpSpPr>
          <p:cNvPr id="28" name="Group 27">
            <a:extLst>
              <a:ext uri="{FF2B5EF4-FFF2-40B4-BE49-F238E27FC236}">
                <a16:creationId xmlns:a16="http://schemas.microsoft.com/office/drawing/2014/main" id="{1855F09D-87CD-25C2-EC95-CDD5CA623259}"/>
              </a:ext>
            </a:extLst>
          </p:cNvPr>
          <p:cNvGrpSpPr>
            <a:grpSpLocks noChangeAspect="1"/>
          </p:cNvGrpSpPr>
          <p:nvPr/>
        </p:nvGrpSpPr>
        <p:grpSpPr>
          <a:xfrm rot="277593">
            <a:off x="8286269" y="2196247"/>
            <a:ext cx="1701407" cy="1317848"/>
            <a:chOff x="3922552" y="2466783"/>
            <a:chExt cx="2114748" cy="1280160"/>
          </a:xfrm>
        </p:grpSpPr>
        <p:sp>
          <p:nvSpPr>
            <p:cNvPr id="29" name="object 3">
              <a:extLst>
                <a:ext uri="{FF2B5EF4-FFF2-40B4-BE49-F238E27FC236}">
                  <a16:creationId xmlns:a16="http://schemas.microsoft.com/office/drawing/2014/main" id="{4C1F6C54-91D6-B694-8FDF-214D9DCC00EB}"/>
                </a:ext>
              </a:extLst>
            </p:cNvPr>
            <p:cNvSpPr>
              <a:spLocks/>
            </p:cNvSpPr>
            <p:nvPr/>
          </p:nvSpPr>
          <p:spPr bwMode="auto">
            <a:xfrm>
              <a:off x="4381795" y="2466783"/>
              <a:ext cx="1106243" cy="186421"/>
            </a:xfrm>
            <a:custGeom>
              <a:avLst/>
              <a:gdLst>
                <a:gd name="T0" fmla="*/ 2066937 w 2145029"/>
                <a:gd name="T1" fmla="*/ 0 h 354330"/>
                <a:gd name="T2" fmla="*/ 517258 w 2145029"/>
                <a:gd name="T3" fmla="*/ 0 h 354330"/>
                <a:gd name="T4" fmla="*/ 0 w 2145029"/>
                <a:gd name="T5" fmla="*/ 354037 h 354330"/>
                <a:gd name="T6" fmla="*/ 1820684 w 2145029"/>
                <a:gd name="T7" fmla="*/ 353822 h 354330"/>
                <a:gd name="T8" fmla="*/ 2125572 w 2145029"/>
                <a:gd name="T9" fmla="*/ 177012 h 354330"/>
                <a:gd name="T10" fmla="*/ 2144597 w 2145029"/>
                <a:gd name="T11" fmla="*/ 164820 h 354330"/>
                <a:gd name="T12" fmla="*/ 2066937 w 2145029"/>
                <a:gd name="T13" fmla="*/ 0 h 35433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45029" h="354330">
                  <a:moveTo>
                    <a:pt x="2066925" y="0"/>
                  </a:moveTo>
                  <a:lnTo>
                    <a:pt x="517258" y="0"/>
                  </a:lnTo>
                  <a:lnTo>
                    <a:pt x="0" y="354037"/>
                  </a:lnTo>
                  <a:lnTo>
                    <a:pt x="1820672" y="353822"/>
                  </a:lnTo>
                  <a:lnTo>
                    <a:pt x="2125560" y="177012"/>
                  </a:lnTo>
                  <a:lnTo>
                    <a:pt x="2144585" y="164820"/>
                  </a:lnTo>
                  <a:lnTo>
                    <a:pt x="2066925" y="0"/>
                  </a:lnTo>
                  <a:close/>
                </a:path>
              </a:pathLst>
            </a:custGeom>
            <a:solidFill>
              <a:srgbClr val="B2B2B2"/>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sp>
          <p:nvSpPr>
            <p:cNvPr id="30" name="object 4">
              <a:extLst>
                <a:ext uri="{FF2B5EF4-FFF2-40B4-BE49-F238E27FC236}">
                  <a16:creationId xmlns:a16="http://schemas.microsoft.com/office/drawing/2014/main" id="{67BA4EE9-B362-FC00-CCF1-CF93612EA720}"/>
                </a:ext>
              </a:extLst>
            </p:cNvPr>
            <p:cNvSpPr>
              <a:spLocks/>
            </p:cNvSpPr>
            <p:nvPr/>
          </p:nvSpPr>
          <p:spPr bwMode="auto">
            <a:xfrm>
              <a:off x="3922552" y="2653089"/>
              <a:ext cx="1867303" cy="1093854"/>
            </a:xfrm>
            <a:custGeom>
              <a:avLst/>
              <a:gdLst>
                <a:gd name="T0" fmla="*/ 1958975 w 3620770"/>
                <a:gd name="T1" fmla="*/ 1922564 h 2123440"/>
                <a:gd name="T2" fmla="*/ 1557540 w 3620770"/>
                <a:gd name="T3" fmla="*/ 1922564 h 2123440"/>
                <a:gd name="T4" fmla="*/ 1562872 w 3620770"/>
                <a:gd name="T5" fmla="*/ 1968560 h 2123440"/>
                <a:gd name="T6" fmla="*/ 1577989 w 3620770"/>
                <a:gd name="T7" fmla="*/ 2010782 h 2123440"/>
                <a:gd name="T8" fmla="*/ 1601690 w 3620770"/>
                <a:gd name="T9" fmla="*/ 2048025 h 2123440"/>
                <a:gd name="T10" fmla="*/ 1632770 w 3620770"/>
                <a:gd name="T11" fmla="*/ 2079086 h 2123440"/>
                <a:gd name="T12" fmla="*/ 1670028 w 3620770"/>
                <a:gd name="T13" fmla="*/ 2102763 h 2123440"/>
                <a:gd name="T14" fmla="*/ 1712260 w 3620770"/>
                <a:gd name="T15" fmla="*/ 2117851 h 2123440"/>
                <a:gd name="T16" fmla="*/ 1758264 w 3620770"/>
                <a:gd name="T17" fmla="*/ 2123147 h 2123440"/>
                <a:gd name="T18" fmla="*/ 1804268 w 3620770"/>
                <a:gd name="T19" fmla="*/ 2117851 h 2123440"/>
                <a:gd name="T20" fmla="*/ 1846500 w 3620770"/>
                <a:gd name="T21" fmla="*/ 2102763 h 2123440"/>
                <a:gd name="T22" fmla="*/ 1883756 w 3620770"/>
                <a:gd name="T23" fmla="*/ 2079086 h 2123440"/>
                <a:gd name="T24" fmla="*/ 1914835 w 3620770"/>
                <a:gd name="T25" fmla="*/ 2048025 h 2123440"/>
                <a:gd name="T26" fmla="*/ 1938533 w 3620770"/>
                <a:gd name="T27" fmla="*/ 2010782 h 2123440"/>
                <a:gd name="T28" fmla="*/ 1953647 w 3620770"/>
                <a:gd name="T29" fmla="*/ 1968560 h 2123440"/>
                <a:gd name="T30" fmla="*/ 1958975 w 3620770"/>
                <a:gd name="T31" fmla="*/ 1922564 h 2123440"/>
                <a:gd name="T32" fmla="*/ 2713088 w 3620770"/>
                <a:gd name="T33" fmla="*/ 0 h 2123440"/>
                <a:gd name="T34" fmla="*/ 893584 w 3620770"/>
                <a:gd name="T35" fmla="*/ 0 h 2123440"/>
                <a:gd name="T36" fmla="*/ 0 w 3620770"/>
                <a:gd name="T37" fmla="*/ 1922564 h 2123440"/>
                <a:gd name="T38" fmla="*/ 3620744 w 3620770"/>
                <a:gd name="T39" fmla="*/ 1923122 h 2123440"/>
                <a:gd name="T40" fmla="*/ 2713088 w 3620770"/>
                <a:gd name="T41" fmla="*/ 0 h 21234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connsiteX0" fmla="*/ 1958975 w 3620744"/>
                <a:gd name="connsiteY0" fmla="*/ 1922564 h 2123147"/>
                <a:gd name="connsiteX1" fmla="*/ 1557540 w 3620744"/>
                <a:gd name="connsiteY1" fmla="*/ 1922564 h 2123147"/>
                <a:gd name="connsiteX2" fmla="*/ 1562872 w 3620744"/>
                <a:gd name="connsiteY2" fmla="*/ 1968560 h 2123147"/>
                <a:gd name="connsiteX3" fmla="*/ 1577989 w 3620744"/>
                <a:gd name="connsiteY3" fmla="*/ 2010782 h 2123147"/>
                <a:gd name="connsiteX4" fmla="*/ 1601690 w 3620744"/>
                <a:gd name="connsiteY4" fmla="*/ 2048025 h 2123147"/>
                <a:gd name="connsiteX5" fmla="*/ 1632770 w 3620744"/>
                <a:gd name="connsiteY5" fmla="*/ 2079086 h 2123147"/>
                <a:gd name="connsiteX6" fmla="*/ 1670028 w 3620744"/>
                <a:gd name="connsiteY6" fmla="*/ 2102763 h 2123147"/>
                <a:gd name="connsiteX7" fmla="*/ 1712260 w 3620744"/>
                <a:gd name="connsiteY7" fmla="*/ 2117851 h 2123147"/>
                <a:gd name="connsiteX8" fmla="*/ 1758264 w 3620744"/>
                <a:gd name="connsiteY8" fmla="*/ 2123147 h 2123147"/>
                <a:gd name="connsiteX9" fmla="*/ 1804268 w 3620744"/>
                <a:gd name="connsiteY9" fmla="*/ 2117851 h 2123147"/>
                <a:gd name="connsiteX10" fmla="*/ 1846500 w 3620744"/>
                <a:gd name="connsiteY10" fmla="*/ 2102763 h 2123147"/>
                <a:gd name="connsiteX11" fmla="*/ 1883756 w 3620744"/>
                <a:gd name="connsiteY11" fmla="*/ 2079086 h 2123147"/>
                <a:gd name="connsiteX12" fmla="*/ 1914835 w 3620744"/>
                <a:gd name="connsiteY12" fmla="*/ 2048025 h 2123147"/>
                <a:gd name="connsiteX13" fmla="*/ 1953647 w 3620744"/>
                <a:gd name="connsiteY13" fmla="*/ 1968560 h 2123147"/>
                <a:gd name="connsiteX14" fmla="*/ 1958975 w 3620744"/>
                <a:gd name="connsiteY14" fmla="*/ 1922564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958975 w 3620744"/>
                <a:gd name="connsiteY0" fmla="*/ 1922564 h 2123147"/>
                <a:gd name="connsiteX1" fmla="*/ 1557540 w 3620744"/>
                <a:gd name="connsiteY1" fmla="*/ 1922564 h 2123147"/>
                <a:gd name="connsiteX2" fmla="*/ 1562872 w 3620744"/>
                <a:gd name="connsiteY2" fmla="*/ 1968560 h 2123147"/>
                <a:gd name="connsiteX3" fmla="*/ 1577989 w 3620744"/>
                <a:gd name="connsiteY3" fmla="*/ 2010782 h 2123147"/>
                <a:gd name="connsiteX4" fmla="*/ 1601690 w 3620744"/>
                <a:gd name="connsiteY4" fmla="*/ 2048025 h 2123147"/>
                <a:gd name="connsiteX5" fmla="*/ 1632770 w 3620744"/>
                <a:gd name="connsiteY5" fmla="*/ 2079086 h 2123147"/>
                <a:gd name="connsiteX6" fmla="*/ 1670028 w 3620744"/>
                <a:gd name="connsiteY6" fmla="*/ 2102763 h 2123147"/>
                <a:gd name="connsiteX7" fmla="*/ 1712260 w 3620744"/>
                <a:gd name="connsiteY7" fmla="*/ 2117851 h 2123147"/>
                <a:gd name="connsiteX8" fmla="*/ 1758264 w 3620744"/>
                <a:gd name="connsiteY8" fmla="*/ 2123147 h 2123147"/>
                <a:gd name="connsiteX9" fmla="*/ 1804268 w 3620744"/>
                <a:gd name="connsiteY9" fmla="*/ 2117851 h 2123147"/>
                <a:gd name="connsiteX10" fmla="*/ 1846500 w 3620744"/>
                <a:gd name="connsiteY10" fmla="*/ 2102763 h 2123147"/>
                <a:gd name="connsiteX11" fmla="*/ 1883756 w 3620744"/>
                <a:gd name="connsiteY11" fmla="*/ 2079086 h 2123147"/>
                <a:gd name="connsiteX12" fmla="*/ 1953647 w 3620744"/>
                <a:gd name="connsiteY12" fmla="*/ 1968560 h 2123147"/>
                <a:gd name="connsiteX13" fmla="*/ 1958975 w 3620744"/>
                <a:gd name="connsiteY13" fmla="*/ 1922564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958975 w 3620744"/>
                <a:gd name="connsiteY0" fmla="*/ 1922564 h 2123147"/>
                <a:gd name="connsiteX1" fmla="*/ 1557540 w 3620744"/>
                <a:gd name="connsiteY1" fmla="*/ 1922564 h 2123147"/>
                <a:gd name="connsiteX2" fmla="*/ 1562872 w 3620744"/>
                <a:gd name="connsiteY2" fmla="*/ 1968560 h 2123147"/>
                <a:gd name="connsiteX3" fmla="*/ 1601690 w 3620744"/>
                <a:gd name="connsiteY3" fmla="*/ 2048025 h 2123147"/>
                <a:gd name="connsiteX4" fmla="*/ 1632770 w 3620744"/>
                <a:gd name="connsiteY4" fmla="*/ 2079086 h 2123147"/>
                <a:gd name="connsiteX5" fmla="*/ 1670028 w 3620744"/>
                <a:gd name="connsiteY5" fmla="*/ 2102763 h 2123147"/>
                <a:gd name="connsiteX6" fmla="*/ 1712260 w 3620744"/>
                <a:gd name="connsiteY6" fmla="*/ 2117851 h 2123147"/>
                <a:gd name="connsiteX7" fmla="*/ 1758264 w 3620744"/>
                <a:gd name="connsiteY7" fmla="*/ 2123147 h 2123147"/>
                <a:gd name="connsiteX8" fmla="*/ 1804268 w 3620744"/>
                <a:gd name="connsiteY8" fmla="*/ 2117851 h 2123147"/>
                <a:gd name="connsiteX9" fmla="*/ 1846500 w 3620744"/>
                <a:gd name="connsiteY9" fmla="*/ 2102763 h 2123147"/>
                <a:gd name="connsiteX10" fmla="*/ 1883756 w 3620744"/>
                <a:gd name="connsiteY10" fmla="*/ 2079086 h 2123147"/>
                <a:gd name="connsiteX11" fmla="*/ 1953647 w 3620744"/>
                <a:gd name="connsiteY11" fmla="*/ 1968560 h 2123147"/>
                <a:gd name="connsiteX12" fmla="*/ 1958975 w 3620744"/>
                <a:gd name="connsiteY12" fmla="*/ 1922564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958975 w 3620744"/>
                <a:gd name="connsiteY0" fmla="*/ 1922564 h 2123147"/>
                <a:gd name="connsiteX1" fmla="*/ 1557540 w 3620744"/>
                <a:gd name="connsiteY1" fmla="*/ 1922564 h 2123147"/>
                <a:gd name="connsiteX2" fmla="*/ 1562872 w 3620744"/>
                <a:gd name="connsiteY2" fmla="*/ 1968560 h 2123147"/>
                <a:gd name="connsiteX3" fmla="*/ 1601690 w 3620744"/>
                <a:gd name="connsiteY3" fmla="*/ 2048025 h 2123147"/>
                <a:gd name="connsiteX4" fmla="*/ 1632770 w 3620744"/>
                <a:gd name="connsiteY4" fmla="*/ 2079086 h 2123147"/>
                <a:gd name="connsiteX5" fmla="*/ 1670028 w 3620744"/>
                <a:gd name="connsiteY5" fmla="*/ 2102763 h 2123147"/>
                <a:gd name="connsiteX6" fmla="*/ 1712260 w 3620744"/>
                <a:gd name="connsiteY6" fmla="*/ 2117851 h 2123147"/>
                <a:gd name="connsiteX7" fmla="*/ 1758264 w 3620744"/>
                <a:gd name="connsiteY7" fmla="*/ 2123147 h 2123147"/>
                <a:gd name="connsiteX8" fmla="*/ 1804268 w 3620744"/>
                <a:gd name="connsiteY8" fmla="*/ 2117851 h 2123147"/>
                <a:gd name="connsiteX9" fmla="*/ 1846500 w 3620744"/>
                <a:gd name="connsiteY9" fmla="*/ 2102763 h 2123147"/>
                <a:gd name="connsiteX10" fmla="*/ 1883756 w 3620744"/>
                <a:gd name="connsiteY10" fmla="*/ 2079086 h 2123147"/>
                <a:gd name="connsiteX11" fmla="*/ 1958975 w 3620744"/>
                <a:gd name="connsiteY11" fmla="*/ 1922564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883756 w 3620744"/>
                <a:gd name="connsiteY0" fmla="*/ 2079086 h 2123147"/>
                <a:gd name="connsiteX1" fmla="*/ 1557540 w 3620744"/>
                <a:gd name="connsiteY1" fmla="*/ 1922564 h 2123147"/>
                <a:gd name="connsiteX2" fmla="*/ 1562872 w 3620744"/>
                <a:gd name="connsiteY2" fmla="*/ 1968560 h 2123147"/>
                <a:gd name="connsiteX3" fmla="*/ 1601690 w 3620744"/>
                <a:gd name="connsiteY3" fmla="*/ 2048025 h 2123147"/>
                <a:gd name="connsiteX4" fmla="*/ 1632770 w 3620744"/>
                <a:gd name="connsiteY4" fmla="*/ 2079086 h 2123147"/>
                <a:gd name="connsiteX5" fmla="*/ 1670028 w 3620744"/>
                <a:gd name="connsiteY5" fmla="*/ 2102763 h 2123147"/>
                <a:gd name="connsiteX6" fmla="*/ 1712260 w 3620744"/>
                <a:gd name="connsiteY6" fmla="*/ 2117851 h 2123147"/>
                <a:gd name="connsiteX7" fmla="*/ 1758264 w 3620744"/>
                <a:gd name="connsiteY7" fmla="*/ 2123147 h 2123147"/>
                <a:gd name="connsiteX8" fmla="*/ 1804268 w 3620744"/>
                <a:gd name="connsiteY8" fmla="*/ 2117851 h 2123147"/>
                <a:gd name="connsiteX9" fmla="*/ 1846500 w 3620744"/>
                <a:gd name="connsiteY9" fmla="*/ 2102763 h 2123147"/>
                <a:gd name="connsiteX10" fmla="*/ 1883756 w 3620744"/>
                <a:gd name="connsiteY10" fmla="*/ 2079086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883756 w 3620744"/>
                <a:gd name="connsiteY0" fmla="*/ 2079086 h 2123147"/>
                <a:gd name="connsiteX1" fmla="*/ 1557540 w 3620744"/>
                <a:gd name="connsiteY1" fmla="*/ 1922564 h 2123147"/>
                <a:gd name="connsiteX2" fmla="*/ 1601690 w 3620744"/>
                <a:gd name="connsiteY2" fmla="*/ 2048025 h 2123147"/>
                <a:gd name="connsiteX3" fmla="*/ 1632770 w 3620744"/>
                <a:gd name="connsiteY3" fmla="*/ 2079086 h 2123147"/>
                <a:gd name="connsiteX4" fmla="*/ 1670028 w 3620744"/>
                <a:gd name="connsiteY4" fmla="*/ 2102763 h 2123147"/>
                <a:gd name="connsiteX5" fmla="*/ 1712260 w 3620744"/>
                <a:gd name="connsiteY5" fmla="*/ 2117851 h 2123147"/>
                <a:gd name="connsiteX6" fmla="*/ 1758264 w 3620744"/>
                <a:gd name="connsiteY6" fmla="*/ 2123147 h 2123147"/>
                <a:gd name="connsiteX7" fmla="*/ 1804268 w 3620744"/>
                <a:gd name="connsiteY7" fmla="*/ 2117851 h 2123147"/>
                <a:gd name="connsiteX8" fmla="*/ 1846500 w 3620744"/>
                <a:gd name="connsiteY8" fmla="*/ 2102763 h 2123147"/>
                <a:gd name="connsiteX9" fmla="*/ 1883756 w 3620744"/>
                <a:gd name="connsiteY9" fmla="*/ 2079086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883756 w 3620744"/>
                <a:gd name="connsiteY0" fmla="*/ 2079086 h 2123147"/>
                <a:gd name="connsiteX1" fmla="*/ 1557540 w 3620744"/>
                <a:gd name="connsiteY1" fmla="*/ 1922564 h 2123147"/>
                <a:gd name="connsiteX2" fmla="*/ 1632770 w 3620744"/>
                <a:gd name="connsiteY2" fmla="*/ 2079086 h 2123147"/>
                <a:gd name="connsiteX3" fmla="*/ 1670028 w 3620744"/>
                <a:gd name="connsiteY3" fmla="*/ 2102763 h 2123147"/>
                <a:gd name="connsiteX4" fmla="*/ 1712260 w 3620744"/>
                <a:gd name="connsiteY4" fmla="*/ 2117851 h 2123147"/>
                <a:gd name="connsiteX5" fmla="*/ 1758264 w 3620744"/>
                <a:gd name="connsiteY5" fmla="*/ 2123147 h 2123147"/>
                <a:gd name="connsiteX6" fmla="*/ 1804268 w 3620744"/>
                <a:gd name="connsiteY6" fmla="*/ 2117851 h 2123147"/>
                <a:gd name="connsiteX7" fmla="*/ 1846500 w 3620744"/>
                <a:gd name="connsiteY7" fmla="*/ 2102763 h 2123147"/>
                <a:gd name="connsiteX8" fmla="*/ 1883756 w 3620744"/>
                <a:gd name="connsiteY8" fmla="*/ 2079086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883756 w 3620744"/>
                <a:gd name="connsiteY0" fmla="*/ 2079086 h 2123147"/>
                <a:gd name="connsiteX1" fmla="*/ 1557540 w 3620744"/>
                <a:gd name="connsiteY1" fmla="*/ 1922564 h 2123147"/>
                <a:gd name="connsiteX2" fmla="*/ 1670028 w 3620744"/>
                <a:gd name="connsiteY2" fmla="*/ 2102763 h 2123147"/>
                <a:gd name="connsiteX3" fmla="*/ 1712260 w 3620744"/>
                <a:gd name="connsiteY3" fmla="*/ 2117851 h 2123147"/>
                <a:gd name="connsiteX4" fmla="*/ 1758264 w 3620744"/>
                <a:gd name="connsiteY4" fmla="*/ 2123147 h 2123147"/>
                <a:gd name="connsiteX5" fmla="*/ 1804268 w 3620744"/>
                <a:gd name="connsiteY5" fmla="*/ 2117851 h 2123147"/>
                <a:gd name="connsiteX6" fmla="*/ 1846500 w 3620744"/>
                <a:gd name="connsiteY6" fmla="*/ 2102763 h 2123147"/>
                <a:gd name="connsiteX7" fmla="*/ 1883756 w 3620744"/>
                <a:gd name="connsiteY7" fmla="*/ 2079086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883756 w 3620744"/>
                <a:gd name="connsiteY0" fmla="*/ 2079086 h 2123147"/>
                <a:gd name="connsiteX1" fmla="*/ 1557540 w 3620744"/>
                <a:gd name="connsiteY1" fmla="*/ 1922564 h 2123147"/>
                <a:gd name="connsiteX2" fmla="*/ 1712260 w 3620744"/>
                <a:gd name="connsiteY2" fmla="*/ 2117851 h 2123147"/>
                <a:gd name="connsiteX3" fmla="*/ 1758264 w 3620744"/>
                <a:gd name="connsiteY3" fmla="*/ 2123147 h 2123147"/>
                <a:gd name="connsiteX4" fmla="*/ 1804268 w 3620744"/>
                <a:gd name="connsiteY4" fmla="*/ 2117851 h 2123147"/>
                <a:gd name="connsiteX5" fmla="*/ 1846500 w 3620744"/>
                <a:gd name="connsiteY5" fmla="*/ 2102763 h 2123147"/>
                <a:gd name="connsiteX6" fmla="*/ 1883756 w 3620744"/>
                <a:gd name="connsiteY6" fmla="*/ 2079086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883756 w 3620744"/>
                <a:gd name="connsiteY0" fmla="*/ 2079086 h 2123147"/>
                <a:gd name="connsiteX1" fmla="*/ 1557540 w 3620744"/>
                <a:gd name="connsiteY1" fmla="*/ 1922564 h 2123147"/>
                <a:gd name="connsiteX2" fmla="*/ 1758264 w 3620744"/>
                <a:gd name="connsiteY2" fmla="*/ 2123147 h 2123147"/>
                <a:gd name="connsiteX3" fmla="*/ 1804268 w 3620744"/>
                <a:gd name="connsiteY3" fmla="*/ 2117851 h 2123147"/>
                <a:gd name="connsiteX4" fmla="*/ 1846500 w 3620744"/>
                <a:gd name="connsiteY4" fmla="*/ 2102763 h 2123147"/>
                <a:gd name="connsiteX5" fmla="*/ 1883756 w 3620744"/>
                <a:gd name="connsiteY5" fmla="*/ 2079086 h 2123147"/>
                <a:gd name="connsiteX0" fmla="*/ 2713088 w 3620744"/>
                <a:gd name="connsiteY0" fmla="*/ 0 h 2123147"/>
                <a:gd name="connsiteX1" fmla="*/ 893584 w 3620744"/>
                <a:gd name="connsiteY1" fmla="*/ 0 h 2123147"/>
                <a:gd name="connsiteX2" fmla="*/ 0 w 3620744"/>
                <a:gd name="connsiteY2" fmla="*/ 1922564 h 2123147"/>
                <a:gd name="connsiteX3" fmla="*/ 3620744 w 3620744"/>
                <a:gd name="connsiteY3" fmla="*/ 1923122 h 2123147"/>
                <a:gd name="connsiteX4" fmla="*/ 2713088 w 3620744"/>
                <a:gd name="connsiteY4" fmla="*/ 0 h 2123147"/>
                <a:gd name="connsiteX0" fmla="*/ 1883756 w 3620744"/>
                <a:gd name="connsiteY0" fmla="*/ 2079086 h 2117851"/>
                <a:gd name="connsiteX1" fmla="*/ 1557540 w 3620744"/>
                <a:gd name="connsiteY1" fmla="*/ 1922564 h 2117851"/>
                <a:gd name="connsiteX2" fmla="*/ 1804268 w 3620744"/>
                <a:gd name="connsiteY2" fmla="*/ 2117851 h 2117851"/>
                <a:gd name="connsiteX3" fmla="*/ 1846500 w 3620744"/>
                <a:gd name="connsiteY3" fmla="*/ 2102763 h 2117851"/>
                <a:gd name="connsiteX4" fmla="*/ 1883756 w 3620744"/>
                <a:gd name="connsiteY4" fmla="*/ 2079086 h 2117851"/>
                <a:gd name="connsiteX0" fmla="*/ 2713088 w 3620744"/>
                <a:gd name="connsiteY0" fmla="*/ 0 h 2117851"/>
                <a:gd name="connsiteX1" fmla="*/ 893584 w 3620744"/>
                <a:gd name="connsiteY1" fmla="*/ 0 h 2117851"/>
                <a:gd name="connsiteX2" fmla="*/ 0 w 3620744"/>
                <a:gd name="connsiteY2" fmla="*/ 1922564 h 2117851"/>
                <a:gd name="connsiteX3" fmla="*/ 3620744 w 3620744"/>
                <a:gd name="connsiteY3" fmla="*/ 1923122 h 2117851"/>
                <a:gd name="connsiteX4" fmla="*/ 2713088 w 3620744"/>
                <a:gd name="connsiteY4" fmla="*/ 0 h 2117851"/>
                <a:gd name="connsiteX0" fmla="*/ 1883756 w 3620744"/>
                <a:gd name="connsiteY0" fmla="*/ 2079086 h 2102763"/>
                <a:gd name="connsiteX1" fmla="*/ 1557540 w 3620744"/>
                <a:gd name="connsiteY1" fmla="*/ 1922564 h 2102763"/>
                <a:gd name="connsiteX2" fmla="*/ 1846500 w 3620744"/>
                <a:gd name="connsiteY2" fmla="*/ 2102763 h 2102763"/>
                <a:gd name="connsiteX3" fmla="*/ 1883756 w 3620744"/>
                <a:gd name="connsiteY3" fmla="*/ 2079086 h 2102763"/>
                <a:gd name="connsiteX0" fmla="*/ 2713088 w 3620744"/>
                <a:gd name="connsiteY0" fmla="*/ 0 h 2102763"/>
                <a:gd name="connsiteX1" fmla="*/ 893584 w 3620744"/>
                <a:gd name="connsiteY1" fmla="*/ 0 h 2102763"/>
                <a:gd name="connsiteX2" fmla="*/ 0 w 3620744"/>
                <a:gd name="connsiteY2" fmla="*/ 1922564 h 2102763"/>
                <a:gd name="connsiteX3" fmla="*/ 3620744 w 3620744"/>
                <a:gd name="connsiteY3" fmla="*/ 1923122 h 2102763"/>
                <a:gd name="connsiteX4" fmla="*/ 2713088 w 3620744"/>
                <a:gd name="connsiteY4" fmla="*/ 0 h 2102763"/>
                <a:gd name="connsiteX0" fmla="*/ 1883756 w 3620744"/>
                <a:gd name="connsiteY0" fmla="*/ 2079086 h 2079087"/>
                <a:gd name="connsiteX1" fmla="*/ 1557540 w 3620744"/>
                <a:gd name="connsiteY1" fmla="*/ 1922564 h 2079087"/>
                <a:gd name="connsiteX2" fmla="*/ 1883756 w 3620744"/>
                <a:gd name="connsiteY2" fmla="*/ 2079086 h 2079087"/>
                <a:gd name="connsiteX0" fmla="*/ 2713088 w 3620744"/>
                <a:gd name="connsiteY0" fmla="*/ 0 h 2079087"/>
                <a:gd name="connsiteX1" fmla="*/ 893584 w 3620744"/>
                <a:gd name="connsiteY1" fmla="*/ 0 h 2079087"/>
                <a:gd name="connsiteX2" fmla="*/ 0 w 3620744"/>
                <a:gd name="connsiteY2" fmla="*/ 1922564 h 2079087"/>
                <a:gd name="connsiteX3" fmla="*/ 3620744 w 3620744"/>
                <a:gd name="connsiteY3" fmla="*/ 1923122 h 2079087"/>
                <a:gd name="connsiteX4" fmla="*/ 2713088 w 3620744"/>
                <a:gd name="connsiteY4" fmla="*/ 0 h 2079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0744" h="2079087">
                  <a:moveTo>
                    <a:pt x="1883756" y="2079086"/>
                  </a:moveTo>
                  <a:lnTo>
                    <a:pt x="1557540" y="1922564"/>
                  </a:lnTo>
                  <a:lnTo>
                    <a:pt x="1883756" y="2079086"/>
                  </a:lnTo>
                  <a:close/>
                </a:path>
                <a:path w="3620744" h="2079087">
                  <a:moveTo>
                    <a:pt x="2713088" y="0"/>
                  </a:moveTo>
                  <a:lnTo>
                    <a:pt x="893584" y="0"/>
                  </a:lnTo>
                  <a:lnTo>
                    <a:pt x="0" y="1922564"/>
                  </a:lnTo>
                  <a:lnTo>
                    <a:pt x="3620744" y="1923122"/>
                  </a:lnTo>
                  <a:lnTo>
                    <a:pt x="2713088" y="0"/>
                  </a:lnTo>
                  <a:close/>
                </a:path>
              </a:pathLst>
            </a:custGeom>
            <a:solidFill>
              <a:srgbClr val="BFBFBF"/>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sp>
          <p:nvSpPr>
            <p:cNvPr id="31" name="object 5">
              <a:extLst>
                <a:ext uri="{FF2B5EF4-FFF2-40B4-BE49-F238E27FC236}">
                  <a16:creationId xmlns:a16="http://schemas.microsoft.com/office/drawing/2014/main" id="{9F30972E-22C4-C44D-3C52-1BF467D77FCD}"/>
                </a:ext>
              </a:extLst>
            </p:cNvPr>
            <p:cNvSpPr>
              <a:spLocks/>
            </p:cNvSpPr>
            <p:nvPr/>
          </p:nvSpPr>
          <p:spPr bwMode="auto">
            <a:xfrm>
              <a:off x="5317161" y="2466783"/>
              <a:ext cx="720139" cy="1198372"/>
            </a:xfrm>
            <a:custGeom>
              <a:avLst/>
              <a:gdLst>
                <a:gd name="T0" fmla="*/ 247015 w 1396365"/>
                <a:gd name="T1" fmla="*/ 0 h 2277745"/>
                <a:gd name="T2" fmla="*/ 233718 w 1396365"/>
                <a:gd name="T3" fmla="*/ 19215 h 2277745"/>
                <a:gd name="T4" fmla="*/ 227926 w 1396365"/>
                <a:gd name="T5" fmla="*/ 27419 h 2277745"/>
                <a:gd name="T6" fmla="*/ 279 w 1396365"/>
                <a:gd name="T7" fmla="*/ 353821 h 2277745"/>
                <a:gd name="T8" fmla="*/ 0 w 1396365"/>
                <a:gd name="T9" fmla="*/ 354037 h 2277745"/>
                <a:gd name="T10" fmla="*/ 910348 w 1396365"/>
                <a:gd name="T11" fmla="*/ 2277237 h 2277745"/>
                <a:gd name="T12" fmla="*/ 1395895 w 1396365"/>
                <a:gd name="T13" fmla="*/ 1578927 h 2277745"/>
                <a:gd name="T14" fmla="*/ 247015 w 1396365"/>
                <a:gd name="T15" fmla="*/ 0 h 22777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96365" h="2277745">
                  <a:moveTo>
                    <a:pt x="247015" y="0"/>
                  </a:moveTo>
                  <a:lnTo>
                    <a:pt x="233718" y="19215"/>
                  </a:lnTo>
                  <a:lnTo>
                    <a:pt x="227926" y="27419"/>
                  </a:lnTo>
                  <a:lnTo>
                    <a:pt x="279" y="353821"/>
                  </a:lnTo>
                  <a:lnTo>
                    <a:pt x="0" y="354037"/>
                  </a:lnTo>
                  <a:lnTo>
                    <a:pt x="910348" y="2277237"/>
                  </a:lnTo>
                  <a:lnTo>
                    <a:pt x="1395895" y="1578927"/>
                  </a:lnTo>
                  <a:lnTo>
                    <a:pt x="247015" y="0"/>
                  </a:lnTo>
                  <a:close/>
                </a:path>
              </a:pathLst>
            </a:custGeom>
            <a:solidFill>
              <a:srgbClr val="D7D7D7"/>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grpSp>
      <p:grpSp>
        <p:nvGrpSpPr>
          <p:cNvPr id="32" name="Group 31">
            <a:extLst>
              <a:ext uri="{FF2B5EF4-FFF2-40B4-BE49-F238E27FC236}">
                <a16:creationId xmlns:a16="http://schemas.microsoft.com/office/drawing/2014/main" id="{EEE86218-4A8F-1508-358F-A8010086B854}"/>
              </a:ext>
            </a:extLst>
          </p:cNvPr>
          <p:cNvGrpSpPr>
            <a:grpSpLocks noChangeAspect="1"/>
          </p:cNvGrpSpPr>
          <p:nvPr/>
        </p:nvGrpSpPr>
        <p:grpSpPr>
          <a:xfrm rot="277593">
            <a:off x="8791183" y="1432973"/>
            <a:ext cx="764724" cy="847188"/>
            <a:chOff x="4410333" y="1670541"/>
            <a:chExt cx="1005840" cy="870868"/>
          </a:xfrm>
        </p:grpSpPr>
        <p:sp>
          <p:nvSpPr>
            <p:cNvPr id="33" name="object 8">
              <a:extLst>
                <a:ext uri="{FF2B5EF4-FFF2-40B4-BE49-F238E27FC236}">
                  <a16:creationId xmlns:a16="http://schemas.microsoft.com/office/drawing/2014/main" id="{9863E01F-EEE8-9BA9-D936-E9284BFFDB07}"/>
                </a:ext>
              </a:extLst>
            </p:cNvPr>
            <p:cNvSpPr>
              <a:spLocks/>
            </p:cNvSpPr>
            <p:nvPr/>
          </p:nvSpPr>
          <p:spPr bwMode="auto">
            <a:xfrm>
              <a:off x="4858934" y="1670541"/>
              <a:ext cx="557239" cy="870548"/>
            </a:xfrm>
            <a:custGeom>
              <a:avLst/>
              <a:gdLst>
                <a:gd name="T0" fmla="*/ 279 w 1143634"/>
                <a:gd name="T1" fmla="*/ 0 h 1751330"/>
                <a:gd name="T2" fmla="*/ 0 w 1143634"/>
                <a:gd name="T3" fmla="*/ 292 h 1751330"/>
                <a:gd name="T4" fmla="*/ 482 w 1143634"/>
                <a:gd name="T5" fmla="*/ 1181 h 1751330"/>
                <a:gd name="T6" fmla="*/ 24815 w 1143634"/>
                <a:gd name="T7" fmla="*/ 50038 h 1751330"/>
                <a:gd name="T8" fmla="*/ 25031 w 1143634"/>
                <a:gd name="T9" fmla="*/ 50330 h 1751330"/>
                <a:gd name="T10" fmla="*/ 525729 w 1143634"/>
                <a:gd name="T11" fmla="*/ 1057732 h 1751330"/>
                <a:gd name="T12" fmla="*/ 896428 w 1143634"/>
                <a:gd name="T13" fmla="*/ 1751317 h 1751330"/>
                <a:gd name="T14" fmla="*/ 1143164 w 1143634"/>
                <a:gd name="T15" fmla="*/ 1397482 h 1751330"/>
                <a:gd name="T16" fmla="*/ 1344 w 1143634"/>
                <a:gd name="T17" fmla="*/ 914 h 1751330"/>
                <a:gd name="T18" fmla="*/ 698 w 1143634"/>
                <a:gd name="T19" fmla="*/ 914 h 1751330"/>
                <a:gd name="T20" fmla="*/ 279 w 1143634"/>
                <a:gd name="T21" fmla="*/ 0 h 1751330"/>
                <a:gd name="T22" fmla="*/ 1168 w 1143634"/>
                <a:gd name="T23" fmla="*/ 698 h 1751330"/>
                <a:gd name="T24" fmla="*/ 698 w 1143634"/>
                <a:gd name="T25" fmla="*/ 914 h 1751330"/>
                <a:gd name="T26" fmla="*/ 1344 w 1143634"/>
                <a:gd name="T27" fmla="*/ 914 h 1751330"/>
                <a:gd name="T28" fmla="*/ 1168 w 1143634"/>
                <a:gd name="T29" fmla="*/ 698 h 17513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43634" h="1751330">
                  <a:moveTo>
                    <a:pt x="279" y="0"/>
                  </a:moveTo>
                  <a:lnTo>
                    <a:pt x="0" y="292"/>
                  </a:lnTo>
                  <a:lnTo>
                    <a:pt x="482" y="1181"/>
                  </a:lnTo>
                  <a:lnTo>
                    <a:pt x="24815" y="50038"/>
                  </a:lnTo>
                  <a:lnTo>
                    <a:pt x="25031" y="50330"/>
                  </a:lnTo>
                  <a:lnTo>
                    <a:pt x="525729" y="1057732"/>
                  </a:lnTo>
                  <a:lnTo>
                    <a:pt x="896416" y="1751317"/>
                  </a:lnTo>
                  <a:lnTo>
                    <a:pt x="1143152" y="1397482"/>
                  </a:lnTo>
                  <a:lnTo>
                    <a:pt x="1344" y="914"/>
                  </a:lnTo>
                  <a:lnTo>
                    <a:pt x="698" y="914"/>
                  </a:lnTo>
                  <a:lnTo>
                    <a:pt x="279" y="0"/>
                  </a:lnTo>
                  <a:close/>
                </a:path>
                <a:path w="1143634" h="1751330">
                  <a:moveTo>
                    <a:pt x="1168" y="698"/>
                  </a:moveTo>
                  <a:lnTo>
                    <a:pt x="698" y="914"/>
                  </a:lnTo>
                  <a:lnTo>
                    <a:pt x="1344" y="914"/>
                  </a:lnTo>
                  <a:lnTo>
                    <a:pt x="1168" y="698"/>
                  </a:lnTo>
                  <a:close/>
                </a:path>
              </a:pathLst>
            </a:custGeom>
            <a:solidFill>
              <a:schemeClr val="accent1">
                <a:lumMod val="40000"/>
                <a:lumOff val="60000"/>
                <a:alpha val="70000"/>
              </a:schemeClr>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sp>
          <p:nvSpPr>
            <p:cNvPr id="34" name="object 9">
              <a:extLst>
                <a:ext uri="{FF2B5EF4-FFF2-40B4-BE49-F238E27FC236}">
                  <a16:creationId xmlns:a16="http://schemas.microsoft.com/office/drawing/2014/main" id="{6595E7FB-9548-9AE4-D709-1A7033614E9E}"/>
                </a:ext>
              </a:extLst>
            </p:cNvPr>
            <p:cNvSpPr>
              <a:spLocks/>
            </p:cNvSpPr>
            <p:nvPr/>
          </p:nvSpPr>
          <p:spPr bwMode="auto">
            <a:xfrm>
              <a:off x="4410333" y="1670546"/>
              <a:ext cx="885519" cy="870863"/>
            </a:xfrm>
            <a:custGeom>
              <a:avLst/>
              <a:gdLst>
                <a:gd name="T0" fmla="*/ 920953 w 1817370"/>
                <a:gd name="T1" fmla="*/ 0 h 1751964"/>
                <a:gd name="T2" fmla="*/ 920673 w 1817370"/>
                <a:gd name="T3" fmla="*/ 279 h 1751964"/>
                <a:gd name="T4" fmla="*/ 920051 w 1817370"/>
                <a:gd name="T5" fmla="*/ 1790 h 1751964"/>
                <a:gd name="T6" fmla="*/ 919784 w 1817370"/>
                <a:gd name="T7" fmla="*/ 2070 h 1751964"/>
                <a:gd name="T8" fmla="*/ 0 w 1817370"/>
                <a:gd name="T9" fmla="*/ 1751520 h 1751964"/>
                <a:gd name="T10" fmla="*/ 1817090 w 1817370"/>
                <a:gd name="T11" fmla="*/ 1751304 h 1751964"/>
                <a:gd name="T12" fmla="*/ 921372 w 1817370"/>
                <a:gd name="T13" fmla="*/ 901 h 1751964"/>
                <a:gd name="T14" fmla="*/ 920953 w 1817370"/>
                <a:gd name="T15" fmla="*/ 0 h 175196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17370" h="1751964">
                  <a:moveTo>
                    <a:pt x="920953" y="0"/>
                  </a:moveTo>
                  <a:lnTo>
                    <a:pt x="920673" y="279"/>
                  </a:lnTo>
                  <a:lnTo>
                    <a:pt x="920051" y="1790"/>
                  </a:lnTo>
                  <a:lnTo>
                    <a:pt x="919784" y="2070"/>
                  </a:lnTo>
                  <a:lnTo>
                    <a:pt x="0" y="1751520"/>
                  </a:lnTo>
                  <a:lnTo>
                    <a:pt x="1817090" y="1751304"/>
                  </a:lnTo>
                  <a:lnTo>
                    <a:pt x="921372" y="901"/>
                  </a:lnTo>
                  <a:lnTo>
                    <a:pt x="920953" y="0"/>
                  </a:lnTo>
                  <a:close/>
                </a:path>
              </a:pathLst>
            </a:custGeom>
            <a:solidFill>
              <a:schemeClr val="accent1">
                <a:lumMod val="40000"/>
                <a:lumOff val="60000"/>
              </a:schemeClr>
            </a:solidFill>
            <a:ln>
              <a:noFill/>
            </a:ln>
          </p:spPr>
          <p:txBody>
            <a:bodyPr lIns="0" tIns="0" rIns="0" bIns="0"/>
            <a:lstStyle/>
            <a:p>
              <a:pPr marL="0" marR="0" lvl="0" indent="0" algn="l" defTabSz="914400" rtl="0" eaLnBrk="0"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Verdana" panose="020B0604030504040204" pitchFamily="34" charset="0"/>
                <a:ea typeface="MS PGothic" panose="020B0600070205080204" pitchFamily="34" charset="-128"/>
                <a:cs typeface="Arial"/>
                <a:sym typeface="Arial"/>
              </a:endParaRPr>
            </a:p>
          </p:txBody>
        </p:sp>
      </p:grpSp>
      <p:sp>
        <p:nvSpPr>
          <p:cNvPr id="35" name="Flowchart: Alternate Process 29">
            <a:extLst>
              <a:ext uri="{FF2B5EF4-FFF2-40B4-BE49-F238E27FC236}">
                <a16:creationId xmlns:a16="http://schemas.microsoft.com/office/drawing/2014/main" id="{ABB39C91-FCC3-D38B-EEC6-EC0D16703F1E}"/>
              </a:ext>
            </a:extLst>
          </p:cNvPr>
          <p:cNvSpPr/>
          <p:nvPr>
            <p:custDataLst>
              <p:tags r:id="rId14"/>
            </p:custDataLst>
          </p:nvPr>
        </p:nvSpPr>
        <p:spPr>
          <a:xfrm rot="277593">
            <a:off x="7620798" y="5028877"/>
            <a:ext cx="776764" cy="421352"/>
          </a:xfrm>
          <a:prstGeom prst="flowChartAlternateProcess">
            <a:avLst/>
          </a:prstGeom>
          <a:solidFill>
            <a:srgbClr val="5990C3"/>
          </a:solidFill>
          <a:ln>
            <a:noFill/>
          </a:ln>
          <a:effectLst>
            <a:outerShdw blurRad="50800" dist="38100" dir="2700000" algn="tl"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Arial"/>
                <a:sym typeface="Arial"/>
              </a:rPr>
              <a:t>Data Owners </a:t>
            </a:r>
          </a:p>
        </p:txBody>
      </p:sp>
      <p:sp>
        <p:nvSpPr>
          <p:cNvPr id="36" name="Flowchart: Alternate Process 30">
            <a:extLst>
              <a:ext uri="{FF2B5EF4-FFF2-40B4-BE49-F238E27FC236}">
                <a16:creationId xmlns:a16="http://schemas.microsoft.com/office/drawing/2014/main" id="{DD2A1C0E-5F54-EC5E-B81F-09A4AA1FDBE5}"/>
              </a:ext>
            </a:extLst>
          </p:cNvPr>
          <p:cNvSpPr/>
          <p:nvPr>
            <p:custDataLst>
              <p:tags r:id="rId15"/>
            </p:custDataLst>
          </p:nvPr>
        </p:nvSpPr>
        <p:spPr>
          <a:xfrm rot="277593">
            <a:off x="8475963" y="5098082"/>
            <a:ext cx="776764" cy="421352"/>
          </a:xfrm>
          <a:prstGeom prst="flowChartAlternateProcess">
            <a:avLst/>
          </a:prstGeom>
          <a:solidFill>
            <a:srgbClr val="5990C3"/>
          </a:solidFill>
          <a:ln>
            <a:noFill/>
          </a:ln>
          <a:effectLst>
            <a:outerShdw blurRad="50800" dist="38100" dir="2700000" algn="tl" rotWithShape="0">
              <a:prstClr val="black">
                <a:alpha val="40000"/>
              </a:prstClr>
            </a:outerShdw>
          </a:effectLst>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Arial"/>
                <a:sym typeface="Arial"/>
              </a:rPr>
              <a:t>Data Stewards  </a:t>
            </a:r>
          </a:p>
        </p:txBody>
      </p:sp>
      <p:sp>
        <p:nvSpPr>
          <p:cNvPr id="37" name="Flowchart: Alternate Process 31">
            <a:extLst>
              <a:ext uri="{FF2B5EF4-FFF2-40B4-BE49-F238E27FC236}">
                <a16:creationId xmlns:a16="http://schemas.microsoft.com/office/drawing/2014/main" id="{652813F4-C6E5-8B74-BBC8-E2E0B7A606D0}"/>
              </a:ext>
            </a:extLst>
          </p:cNvPr>
          <p:cNvSpPr/>
          <p:nvPr>
            <p:custDataLst>
              <p:tags r:id="rId16"/>
            </p:custDataLst>
          </p:nvPr>
        </p:nvSpPr>
        <p:spPr>
          <a:xfrm rot="277593">
            <a:off x="8054390" y="4186900"/>
            <a:ext cx="1593064" cy="159212"/>
          </a:xfrm>
          <a:prstGeom prst="flowChartAlternateProcess">
            <a:avLst/>
          </a:prstGeom>
          <a:solidFill>
            <a:srgbClr val="5990C3"/>
          </a:solidFill>
          <a:ln>
            <a:noFill/>
          </a:ln>
          <a:effectLst/>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a:ea typeface="+mn-ea"/>
                <a:cs typeface="Arial"/>
                <a:sym typeface="Arial"/>
              </a:rPr>
              <a:t>Data Governance Analyst </a:t>
            </a:r>
          </a:p>
        </p:txBody>
      </p:sp>
      <p:sp>
        <p:nvSpPr>
          <p:cNvPr id="38" name="Flowchart: Alternate Process 32">
            <a:extLst>
              <a:ext uri="{FF2B5EF4-FFF2-40B4-BE49-F238E27FC236}">
                <a16:creationId xmlns:a16="http://schemas.microsoft.com/office/drawing/2014/main" id="{E5A7D9A7-12C8-9740-6493-EA77A79E4317}"/>
              </a:ext>
            </a:extLst>
          </p:cNvPr>
          <p:cNvSpPr/>
          <p:nvPr>
            <p:custDataLst>
              <p:tags r:id="rId17"/>
            </p:custDataLst>
          </p:nvPr>
        </p:nvSpPr>
        <p:spPr>
          <a:xfrm rot="277593">
            <a:off x="7800849" y="4372776"/>
            <a:ext cx="1217038" cy="169547"/>
          </a:xfrm>
          <a:prstGeom prst="flowChartAlternateProcess">
            <a:avLst/>
          </a:prstGeom>
          <a:solidFill>
            <a:srgbClr val="5990C3"/>
          </a:solidFill>
          <a:ln>
            <a:noFill/>
          </a:ln>
          <a:effectLst/>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a:ea typeface="+mn-ea"/>
                <a:cs typeface="Arial"/>
                <a:sym typeface="Arial"/>
              </a:rPr>
              <a:t>Data Quality Analyst </a:t>
            </a:r>
          </a:p>
        </p:txBody>
      </p:sp>
      <p:sp>
        <p:nvSpPr>
          <p:cNvPr id="39" name="Flowchart: Alternate Process 33">
            <a:extLst>
              <a:ext uri="{FF2B5EF4-FFF2-40B4-BE49-F238E27FC236}">
                <a16:creationId xmlns:a16="http://schemas.microsoft.com/office/drawing/2014/main" id="{519FD20E-7AA3-6AB2-7F33-7355A57EC995}"/>
              </a:ext>
            </a:extLst>
          </p:cNvPr>
          <p:cNvSpPr/>
          <p:nvPr>
            <p:custDataLst>
              <p:tags r:id="rId18"/>
            </p:custDataLst>
          </p:nvPr>
        </p:nvSpPr>
        <p:spPr>
          <a:xfrm>
            <a:off x="9833117" y="4062543"/>
            <a:ext cx="956377" cy="199907"/>
          </a:xfrm>
          <a:prstGeom prst="flowChartAlternateProcess">
            <a:avLst/>
          </a:prstGeom>
          <a:solidFill>
            <a:srgbClr val="5990C3"/>
          </a:solidFill>
          <a:ln>
            <a:noFill/>
          </a:ln>
          <a:effectLst/>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anose="020F0502020204030204"/>
                <a:ea typeface="+mn-ea"/>
                <a:cs typeface="Arial"/>
                <a:sym typeface="Arial"/>
              </a:rPr>
              <a:t>Data Custodians </a:t>
            </a:r>
          </a:p>
        </p:txBody>
      </p:sp>
      <p:sp>
        <p:nvSpPr>
          <p:cNvPr id="40" name="Flowchart: Alternate Process 34">
            <a:extLst>
              <a:ext uri="{FF2B5EF4-FFF2-40B4-BE49-F238E27FC236}">
                <a16:creationId xmlns:a16="http://schemas.microsoft.com/office/drawing/2014/main" id="{29661ECF-790C-A287-1E38-C62259236F3F}"/>
              </a:ext>
            </a:extLst>
          </p:cNvPr>
          <p:cNvSpPr/>
          <p:nvPr>
            <p:custDataLst>
              <p:tags r:id="rId19"/>
            </p:custDataLst>
          </p:nvPr>
        </p:nvSpPr>
        <p:spPr>
          <a:xfrm>
            <a:off x="10070586" y="4969524"/>
            <a:ext cx="1274187" cy="141227"/>
          </a:xfrm>
          <a:prstGeom prst="flowChartAlternateProcess">
            <a:avLst/>
          </a:prstGeom>
          <a:solidFill>
            <a:srgbClr val="5990C3"/>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alibri" panose="020F0502020204030204"/>
                <a:ea typeface="+mn-ea"/>
                <a:cs typeface="Arial"/>
                <a:sym typeface="Arial"/>
              </a:rPr>
              <a:t>Data Asset Owner </a:t>
            </a:r>
          </a:p>
        </p:txBody>
      </p:sp>
      <p:sp>
        <p:nvSpPr>
          <p:cNvPr id="41" name="Rectangle 40">
            <a:extLst>
              <a:ext uri="{FF2B5EF4-FFF2-40B4-BE49-F238E27FC236}">
                <a16:creationId xmlns:a16="http://schemas.microsoft.com/office/drawing/2014/main" id="{8EBB7B36-9EB4-6D57-2B39-D6BB7A47A806}"/>
              </a:ext>
            </a:extLst>
          </p:cNvPr>
          <p:cNvSpPr>
            <a:spLocks noChangeAspect="1"/>
          </p:cNvSpPr>
          <p:nvPr>
            <p:custDataLst>
              <p:tags r:id="rId20"/>
            </p:custDataLst>
          </p:nvPr>
        </p:nvSpPr>
        <p:spPr>
          <a:xfrm>
            <a:off x="9927425" y="3625816"/>
            <a:ext cx="353124" cy="209313"/>
          </a:xfrm>
          <a:prstGeom prst="rect">
            <a:avLst/>
          </a:prstGeom>
          <a:solidFill>
            <a:srgbClr val="83C2FD"/>
          </a:solidFill>
          <a:ln>
            <a:solidFill>
              <a:schemeClr val="tx1"/>
            </a:solidFill>
          </a:ln>
          <a:effectLst>
            <a:outerShdw blurRad="57150" dist="19050" dir="5400000" algn="ctr" rotWithShape="0">
              <a:srgbClr val="000000">
                <a:alpha val="63000"/>
              </a:srgb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1200" cap="none" spc="0" normalizeH="0" baseline="0" noProof="0">
                <a:ln>
                  <a:noFill/>
                </a:ln>
                <a:solidFill>
                  <a:srgbClr val="000000"/>
                </a:solidFill>
                <a:effectLst/>
                <a:uLnTx/>
                <a:uFillTx/>
                <a:latin typeface="Calibri" panose="020F0502020204030204"/>
                <a:cs typeface="Arial"/>
                <a:sym typeface="Arial"/>
              </a:rPr>
              <a:t>CTO</a:t>
            </a:r>
          </a:p>
        </p:txBody>
      </p:sp>
      <p:sp>
        <p:nvSpPr>
          <p:cNvPr id="42" name="Rectangle 41">
            <a:extLst>
              <a:ext uri="{FF2B5EF4-FFF2-40B4-BE49-F238E27FC236}">
                <a16:creationId xmlns:a16="http://schemas.microsoft.com/office/drawing/2014/main" id="{BA7912C1-88F7-C0AC-F42D-E152F00E3AFC}"/>
              </a:ext>
            </a:extLst>
          </p:cNvPr>
          <p:cNvSpPr>
            <a:spLocks noChangeAspect="1"/>
          </p:cNvSpPr>
          <p:nvPr>
            <p:custDataLst>
              <p:tags r:id="rId21"/>
            </p:custDataLst>
          </p:nvPr>
        </p:nvSpPr>
        <p:spPr>
          <a:xfrm rot="188291">
            <a:off x="9532666" y="2788827"/>
            <a:ext cx="294413" cy="185425"/>
          </a:xfrm>
          <a:prstGeom prst="rect">
            <a:avLst/>
          </a:prstGeom>
          <a:solidFill>
            <a:srgbClr val="83C2FD"/>
          </a:solidFill>
          <a:ln>
            <a:solidFill>
              <a:schemeClr val="tx1"/>
            </a:solidFill>
          </a:ln>
          <a:effectLst>
            <a:outerShdw blurRad="57150" dist="19050" dir="5400000" algn="ctr" rotWithShape="0">
              <a:srgbClr val="000000">
                <a:alpha val="63000"/>
              </a:srgb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a:ea typeface="+mn-ea"/>
                <a:cs typeface="Arial"/>
                <a:sym typeface="Arial"/>
              </a:rPr>
              <a:t>CO</a:t>
            </a:r>
          </a:p>
        </p:txBody>
      </p:sp>
      <p:sp>
        <p:nvSpPr>
          <p:cNvPr id="43" name="Rectangle 42">
            <a:extLst>
              <a:ext uri="{FF2B5EF4-FFF2-40B4-BE49-F238E27FC236}">
                <a16:creationId xmlns:a16="http://schemas.microsoft.com/office/drawing/2014/main" id="{67314902-1441-DFD8-03AB-04E314508B40}"/>
              </a:ext>
            </a:extLst>
          </p:cNvPr>
          <p:cNvSpPr>
            <a:spLocks noChangeAspect="1"/>
          </p:cNvSpPr>
          <p:nvPr>
            <p:custDataLst>
              <p:tags r:id="rId22"/>
            </p:custDataLst>
          </p:nvPr>
        </p:nvSpPr>
        <p:spPr>
          <a:xfrm rot="277593">
            <a:off x="8913947" y="1987690"/>
            <a:ext cx="355652" cy="207091"/>
          </a:xfrm>
          <a:prstGeom prst="rect">
            <a:avLst/>
          </a:prstGeom>
          <a:solidFill>
            <a:srgbClr val="83C2FD"/>
          </a:solidFill>
          <a:ln>
            <a:solidFill>
              <a:schemeClr val="tx1"/>
            </a:solidFill>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Calibri" panose="020F0502020204030204"/>
                <a:cs typeface="Arial"/>
                <a:sym typeface="Arial"/>
              </a:rPr>
              <a:t>H</a:t>
            </a:r>
            <a:r>
              <a:rPr kumimoji="0" lang="en-US" sz="900" b="0" i="0" u="none" strike="noStrike" kern="1200" cap="none" spc="0" normalizeH="0" baseline="0" noProof="0">
                <a:ln>
                  <a:noFill/>
                </a:ln>
                <a:solidFill>
                  <a:srgbClr val="000000"/>
                </a:solidFill>
                <a:effectLst/>
                <a:uLnTx/>
                <a:uFillTx/>
                <a:latin typeface="Calibri" panose="020F0502020204030204"/>
                <a:ea typeface="+mn-ea"/>
                <a:cs typeface="Arial"/>
                <a:sym typeface="Arial"/>
              </a:rPr>
              <a:t>IA</a:t>
            </a:r>
          </a:p>
        </p:txBody>
      </p:sp>
      <p:sp>
        <p:nvSpPr>
          <p:cNvPr id="44" name="Rectangle 43">
            <a:extLst>
              <a:ext uri="{FF2B5EF4-FFF2-40B4-BE49-F238E27FC236}">
                <a16:creationId xmlns:a16="http://schemas.microsoft.com/office/drawing/2014/main" id="{18F43067-324E-B7F1-A72E-9D53FB746942}"/>
              </a:ext>
            </a:extLst>
          </p:cNvPr>
          <p:cNvSpPr>
            <a:spLocks noChangeAspect="1"/>
          </p:cNvSpPr>
          <p:nvPr>
            <p:custDataLst>
              <p:tags r:id="rId23"/>
            </p:custDataLst>
          </p:nvPr>
        </p:nvSpPr>
        <p:spPr>
          <a:xfrm rot="277593">
            <a:off x="8669315" y="2584875"/>
            <a:ext cx="353124" cy="173884"/>
          </a:xfrm>
          <a:prstGeom prst="rect">
            <a:avLst/>
          </a:prstGeom>
          <a:solidFill>
            <a:srgbClr val="83C2FD"/>
          </a:solidFill>
          <a:ln>
            <a:solidFill>
              <a:schemeClr val="tx1"/>
            </a:solidFill>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Arial"/>
                <a:sym typeface="Arial"/>
              </a:rPr>
              <a:t>CRO</a:t>
            </a:r>
          </a:p>
        </p:txBody>
      </p:sp>
      <p:sp>
        <p:nvSpPr>
          <p:cNvPr id="45" name="Rectangle 44">
            <a:extLst>
              <a:ext uri="{FF2B5EF4-FFF2-40B4-BE49-F238E27FC236}">
                <a16:creationId xmlns:a16="http://schemas.microsoft.com/office/drawing/2014/main" id="{F57D51DE-FD03-9BCB-2F0C-76458F8DBF00}"/>
              </a:ext>
            </a:extLst>
          </p:cNvPr>
          <p:cNvSpPr>
            <a:spLocks noChangeAspect="1"/>
          </p:cNvSpPr>
          <p:nvPr>
            <p:custDataLst>
              <p:tags r:id="rId24"/>
            </p:custDataLst>
          </p:nvPr>
        </p:nvSpPr>
        <p:spPr>
          <a:xfrm rot="277593">
            <a:off x="8509423" y="2858125"/>
            <a:ext cx="324121" cy="173884"/>
          </a:xfrm>
          <a:prstGeom prst="rect">
            <a:avLst/>
          </a:prstGeom>
          <a:solidFill>
            <a:schemeClr val="bg1">
              <a:lumMod val="85000"/>
            </a:schemeClr>
          </a:solidFill>
          <a:ln>
            <a:solidFill>
              <a:schemeClr val="tx1"/>
            </a:solidFill>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Arial"/>
                <a:sym typeface="Arial"/>
              </a:rPr>
              <a:t>DPO</a:t>
            </a:r>
          </a:p>
        </p:txBody>
      </p:sp>
      <p:sp>
        <p:nvSpPr>
          <p:cNvPr id="46" name="Rectangle 45">
            <a:extLst>
              <a:ext uri="{FF2B5EF4-FFF2-40B4-BE49-F238E27FC236}">
                <a16:creationId xmlns:a16="http://schemas.microsoft.com/office/drawing/2014/main" id="{55DAA21D-B2A2-64DD-766C-A05A91C31FCB}"/>
              </a:ext>
            </a:extLst>
          </p:cNvPr>
          <p:cNvSpPr>
            <a:spLocks noChangeAspect="1"/>
          </p:cNvSpPr>
          <p:nvPr>
            <p:custDataLst>
              <p:tags r:id="rId25"/>
            </p:custDataLst>
          </p:nvPr>
        </p:nvSpPr>
        <p:spPr>
          <a:xfrm rot="277593">
            <a:off x="8935539" y="2917275"/>
            <a:ext cx="330726" cy="176866"/>
          </a:xfrm>
          <a:prstGeom prst="rect">
            <a:avLst/>
          </a:prstGeom>
          <a:solidFill>
            <a:schemeClr val="bg1">
              <a:lumMod val="85000"/>
            </a:schemeClr>
          </a:solidFill>
          <a:ln>
            <a:solidFill>
              <a:schemeClr val="tx1"/>
            </a:solidFill>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Arial"/>
                <a:sym typeface="Arial"/>
              </a:rPr>
              <a:t>CSO</a:t>
            </a:r>
          </a:p>
        </p:txBody>
      </p:sp>
      <p:sp>
        <p:nvSpPr>
          <p:cNvPr id="47" name="Rectangle 46">
            <a:extLst>
              <a:ext uri="{FF2B5EF4-FFF2-40B4-BE49-F238E27FC236}">
                <a16:creationId xmlns:a16="http://schemas.microsoft.com/office/drawing/2014/main" id="{3BBD6F3B-10E0-7CA8-32ED-460078468D01}"/>
              </a:ext>
            </a:extLst>
          </p:cNvPr>
          <p:cNvSpPr>
            <a:spLocks noChangeAspect="1"/>
          </p:cNvSpPr>
          <p:nvPr>
            <p:custDataLst>
              <p:tags r:id="rId26"/>
            </p:custDataLst>
          </p:nvPr>
        </p:nvSpPr>
        <p:spPr>
          <a:xfrm rot="277593">
            <a:off x="8607455" y="3129804"/>
            <a:ext cx="331054" cy="186929"/>
          </a:xfrm>
          <a:prstGeom prst="rect">
            <a:avLst/>
          </a:prstGeom>
          <a:solidFill>
            <a:schemeClr val="bg1">
              <a:lumMod val="85000"/>
            </a:schemeClr>
          </a:solidFill>
          <a:ln>
            <a:solidFill>
              <a:schemeClr val="tx1"/>
            </a:solidFill>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Arial"/>
                <a:sym typeface="Arial"/>
              </a:rPr>
              <a:t>ERM</a:t>
            </a:r>
          </a:p>
        </p:txBody>
      </p:sp>
      <p:sp>
        <p:nvSpPr>
          <p:cNvPr id="48" name="Flowchart: Alternate Process 42">
            <a:extLst>
              <a:ext uri="{FF2B5EF4-FFF2-40B4-BE49-F238E27FC236}">
                <a16:creationId xmlns:a16="http://schemas.microsoft.com/office/drawing/2014/main" id="{514874E3-3ACE-E582-8BF0-87BDB7171FA9}"/>
              </a:ext>
            </a:extLst>
          </p:cNvPr>
          <p:cNvSpPr/>
          <p:nvPr>
            <p:custDataLst>
              <p:tags r:id="rId27"/>
            </p:custDataLst>
          </p:nvPr>
        </p:nvSpPr>
        <p:spPr>
          <a:xfrm rot="277593">
            <a:off x="9331128" y="5167280"/>
            <a:ext cx="776764" cy="421352"/>
          </a:xfrm>
          <a:prstGeom prst="flowChartAlternateProcess">
            <a:avLst/>
          </a:prstGeom>
          <a:solidFill>
            <a:srgbClr val="5990C3"/>
          </a:solidFill>
          <a:ln>
            <a:noFill/>
          </a:ln>
          <a:effectLst>
            <a:outerShdw blurRad="50800" dist="38100" dir="2700000" algn="tl" rotWithShape="0">
              <a:prstClr val="black">
                <a:alpha val="40000"/>
              </a:prstClr>
            </a:outerShdw>
          </a:effectLst>
        </p:spPr>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Arial"/>
                <a:sym typeface="Arial"/>
              </a:rPr>
              <a:t>Business Users </a:t>
            </a:r>
          </a:p>
        </p:txBody>
      </p:sp>
      <p:sp>
        <p:nvSpPr>
          <p:cNvPr id="49" name="Rectangle 48">
            <a:extLst>
              <a:ext uri="{FF2B5EF4-FFF2-40B4-BE49-F238E27FC236}">
                <a16:creationId xmlns:a16="http://schemas.microsoft.com/office/drawing/2014/main" id="{DDAFE866-A0DF-CA3C-DDE9-FC2DF4205C08}"/>
              </a:ext>
            </a:extLst>
          </p:cNvPr>
          <p:cNvSpPr>
            <a:spLocks noChangeAspect="1"/>
          </p:cNvSpPr>
          <p:nvPr>
            <p:custDataLst>
              <p:tags r:id="rId28"/>
            </p:custDataLst>
          </p:nvPr>
        </p:nvSpPr>
        <p:spPr>
          <a:xfrm rot="267261">
            <a:off x="8077129" y="3859354"/>
            <a:ext cx="331054" cy="186929"/>
          </a:xfrm>
          <a:prstGeom prst="rect">
            <a:avLst/>
          </a:prstGeom>
          <a:solidFill>
            <a:schemeClr val="bg1">
              <a:lumMod val="85000"/>
            </a:schemeClr>
          </a:solidFill>
          <a:ln>
            <a:solidFill>
              <a:schemeClr val="tx1"/>
            </a:solidFill>
          </a:ln>
          <a:effectLst/>
        </p:spPr>
        <p:txBody>
          <a:bodyPr lIns="0" r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1200" cap="none" spc="0" normalizeH="0" baseline="0" noProof="0" dirty="0">
                <a:ln>
                  <a:noFill/>
                </a:ln>
                <a:solidFill>
                  <a:srgbClr val="000000"/>
                </a:solidFill>
                <a:effectLst/>
                <a:uLnTx/>
                <a:uFillTx/>
                <a:latin typeface="Calibri" panose="020F0502020204030204"/>
                <a:cs typeface="Arial"/>
                <a:sym typeface="Arial"/>
              </a:rPr>
              <a:t>CDO</a:t>
            </a:r>
          </a:p>
        </p:txBody>
      </p:sp>
    </p:spTree>
    <p:extLst>
      <p:ext uri="{BB962C8B-B14F-4D97-AF65-F5344CB8AC3E}">
        <p14:creationId xmlns:p14="http://schemas.microsoft.com/office/powerpoint/2010/main" val="26544346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D4529-2489-8810-F0A9-4A37B41D77E5}"/>
              </a:ext>
            </a:extLst>
          </p:cNvPr>
          <p:cNvSpPr>
            <a:spLocks noGrp="1"/>
          </p:cNvSpPr>
          <p:nvPr>
            <p:ph type="title"/>
          </p:nvPr>
        </p:nvSpPr>
        <p:spPr>
          <a:xfrm>
            <a:off x="120650" y="219036"/>
            <a:ext cx="11322050" cy="535531"/>
          </a:xfrm>
        </p:spPr>
        <p:txBody>
          <a:bodyPr/>
          <a:lstStyle/>
          <a:p>
            <a:r>
              <a:rPr kumimoji="0" lang="en-GB" sz="3200" b="0" i="0" u="none" strike="noStrike" kern="1200" cap="none" spc="0" normalizeH="0" baseline="0" noProof="0" dirty="0">
                <a:ln>
                  <a:noFill/>
                </a:ln>
                <a:gradFill flip="none" rotWithShape="1">
                  <a:gsLst>
                    <a:gs pos="0">
                      <a:prstClr val="white"/>
                    </a:gs>
                    <a:gs pos="100000">
                      <a:srgbClr val="0E8BAB"/>
                    </a:gs>
                  </a:gsLst>
                  <a:lin ang="10800000" scaled="1"/>
                  <a:tileRect/>
                </a:gradFill>
                <a:effectLst/>
                <a:uLnTx/>
                <a:uFillTx/>
                <a:latin typeface="BearingPoint Sans L + C" pitchFamily="2" charset="77"/>
                <a:ea typeface="+mn-ea"/>
                <a:cs typeface="+mn-cs"/>
              </a:rPr>
              <a:t>Getting ready to </a:t>
            </a:r>
            <a:r>
              <a:rPr lang="en-GB" sz="3200" dirty="0">
                <a:gradFill flip="none" rotWithShape="1">
                  <a:gsLst>
                    <a:gs pos="0">
                      <a:prstClr val="white"/>
                    </a:gs>
                    <a:gs pos="100000">
                      <a:srgbClr val="0E8BAB"/>
                    </a:gs>
                  </a:gsLst>
                  <a:lin ang="10800000" scaled="1"/>
                  <a:tileRect/>
                </a:gradFill>
              </a:rPr>
              <a:t>manage (</a:t>
            </a:r>
            <a:r>
              <a:rPr kumimoji="0" lang="en-GB" sz="3200" b="0" i="0" u="none" strike="noStrike" kern="1200" cap="none" spc="0" normalizeH="0" baseline="0" noProof="0" dirty="0">
                <a:ln>
                  <a:noFill/>
                </a:ln>
                <a:gradFill flip="none" rotWithShape="1">
                  <a:gsLst>
                    <a:gs pos="0">
                      <a:prstClr val="white"/>
                    </a:gs>
                    <a:gs pos="100000">
                      <a:srgbClr val="0E8BAB"/>
                    </a:gs>
                  </a:gsLst>
                  <a:lin ang="10800000" scaled="1"/>
                  <a:tileRect/>
                </a:gradFill>
                <a:effectLst/>
                <a:uLnTx/>
                <a:uFillTx/>
                <a:latin typeface="BearingPoint Sans L + C" pitchFamily="2" charset="77"/>
                <a:ea typeface="+mn-ea"/>
                <a:cs typeface="+mn-cs"/>
              </a:rPr>
              <a:t>Generative) AI?</a:t>
            </a:r>
            <a:endParaRPr lang="en-IE" dirty="0"/>
          </a:p>
        </p:txBody>
      </p:sp>
      <p:sp>
        <p:nvSpPr>
          <p:cNvPr id="6" name="Title 1">
            <a:extLst>
              <a:ext uri="{FF2B5EF4-FFF2-40B4-BE49-F238E27FC236}">
                <a16:creationId xmlns:a16="http://schemas.microsoft.com/office/drawing/2014/main" id="{97DFFBB0-B5F9-E7A8-2C45-6538288C342B}"/>
              </a:ext>
            </a:extLst>
          </p:cNvPr>
          <p:cNvSpPr txBox="1">
            <a:spLocks/>
          </p:cNvSpPr>
          <p:nvPr/>
        </p:nvSpPr>
        <p:spPr>
          <a:xfrm>
            <a:off x="645097" y="1203775"/>
            <a:ext cx="9506198" cy="4450449"/>
          </a:xfrm>
          <a:prstGeom prst="rect">
            <a:avLst/>
          </a:prstGeom>
        </p:spPr>
        <p:txBody>
          <a:bodyPr wrap="square">
            <a:spAutoFit/>
          </a:bodyPr>
          <a:lstStyle>
            <a:lvl1pPr algn="l" defTabSz="914400" rtl="0" eaLnBrk="1" latinLnBrk="0" hangingPunct="1">
              <a:lnSpc>
                <a:spcPct val="90000"/>
              </a:lnSpc>
              <a:spcBef>
                <a:spcPct val="0"/>
              </a:spcBef>
              <a:buNone/>
              <a:defRPr lang="en-BE" sz="2000" kern="1200">
                <a:gradFill flip="none" rotWithShape="1">
                  <a:gsLst>
                    <a:gs pos="0">
                      <a:srgbClr val="6C03A8"/>
                    </a:gs>
                    <a:gs pos="100000">
                      <a:srgbClr val="0E8BAB"/>
                    </a:gs>
                  </a:gsLst>
                  <a:lin ang="0" scaled="1"/>
                  <a:tileRect/>
                </a:gradFill>
                <a:latin typeface="BearingPoint Sans L + C" pitchFamily="2" charset="77"/>
                <a:ea typeface="+mn-ea"/>
                <a:cs typeface="+mn-cs"/>
              </a:defRPr>
            </a:lvl1pPr>
          </a:lstStyle>
          <a:p>
            <a:pPr marL="342900" indent="-342900">
              <a:buFont typeface="Wingdings" panose="05000000000000000000" pitchFamily="2" charset="2"/>
              <a:buChar char="ü"/>
            </a:pPr>
            <a:r>
              <a:rPr lang="en-GB" sz="2400" dirty="0">
                <a:gradFill flip="none" rotWithShape="1">
                  <a:gsLst>
                    <a:gs pos="0">
                      <a:prstClr val="white"/>
                    </a:gs>
                    <a:gs pos="100000">
                      <a:srgbClr val="0E8BAB"/>
                    </a:gs>
                  </a:gsLst>
                  <a:lin ang="10800000" scaled="1"/>
                  <a:tileRect/>
                </a:gradFill>
              </a:rPr>
              <a:t>Include AI  in your data strategy but recognize it’s just a tool</a:t>
            </a:r>
          </a:p>
          <a:p>
            <a:pPr marL="914400" lvl="1" indent="-457200">
              <a:buFont typeface="Arial" panose="020B0604020202020204" pitchFamily="34" charset="0"/>
              <a:buChar char="•"/>
            </a:pPr>
            <a:r>
              <a:rPr lang="en-GB" sz="2200" dirty="0">
                <a:gradFill flip="none" rotWithShape="1">
                  <a:gsLst>
                    <a:gs pos="0">
                      <a:prstClr val="white"/>
                    </a:gs>
                    <a:gs pos="100000">
                      <a:srgbClr val="0E8BAB"/>
                    </a:gs>
                  </a:gsLst>
                  <a:lin ang="10800000" scaled="1"/>
                  <a:tileRect/>
                </a:gradFill>
              </a:rPr>
              <a:t>Actively consider the potential use case </a:t>
            </a:r>
          </a:p>
          <a:p>
            <a:pPr marL="914400" lvl="1" indent="-457200">
              <a:buFont typeface="Wingdings" panose="05000000000000000000" pitchFamily="2" charset="2"/>
              <a:buChar char="ü"/>
            </a:pPr>
            <a:endParaRPr lang="en-GB" sz="2200" dirty="0">
              <a:gradFill flip="none" rotWithShape="1">
                <a:gsLst>
                  <a:gs pos="0">
                    <a:prstClr val="white"/>
                  </a:gs>
                  <a:gs pos="100000">
                    <a:srgbClr val="0E8BAB"/>
                  </a:gs>
                </a:gsLst>
                <a:lin ang="10800000" scaled="1"/>
                <a:tileRect/>
              </a:gradFill>
            </a:endParaRPr>
          </a:p>
          <a:p>
            <a:pPr marL="342900" indent="-342900">
              <a:buFont typeface="Wingdings" panose="05000000000000000000" pitchFamily="2" charset="2"/>
              <a:buChar char="ü"/>
            </a:pPr>
            <a:r>
              <a:rPr lang="en-GB" sz="2400" dirty="0">
                <a:gradFill flip="none" rotWithShape="1">
                  <a:gsLst>
                    <a:gs pos="0">
                      <a:prstClr val="white"/>
                    </a:gs>
                    <a:gs pos="100000">
                      <a:srgbClr val="0E8BAB"/>
                    </a:gs>
                  </a:gsLst>
                  <a:lin ang="10800000" scaled="1"/>
                  <a:tileRect/>
                </a:gradFill>
              </a:rPr>
              <a:t>Extend your Governance Framework to include AI aspects</a:t>
            </a:r>
          </a:p>
          <a:p>
            <a:pPr marL="914400" lvl="1" indent="-457200">
              <a:buFont typeface="Arial" panose="020B0604020202020204" pitchFamily="34" charset="0"/>
              <a:buChar char="•"/>
            </a:pPr>
            <a:r>
              <a:rPr lang="en-GB" sz="2200" dirty="0">
                <a:gradFill flip="none" rotWithShape="1">
                  <a:gsLst>
                    <a:gs pos="0">
                      <a:prstClr val="white"/>
                    </a:gs>
                    <a:gs pos="100000">
                      <a:srgbClr val="0E8BAB"/>
                    </a:gs>
                  </a:gsLst>
                  <a:lin ang="10800000" scaled="1"/>
                  <a:tileRect/>
                </a:gradFill>
              </a:rPr>
              <a:t>Data landscape</a:t>
            </a:r>
          </a:p>
          <a:p>
            <a:pPr marL="914400" lvl="1" indent="-457200">
              <a:buFont typeface="Arial" panose="020B0604020202020204" pitchFamily="34" charset="0"/>
              <a:buChar char="•"/>
            </a:pPr>
            <a:r>
              <a:rPr lang="en-GB" sz="2200" dirty="0">
                <a:gradFill flip="none" rotWithShape="1">
                  <a:gsLst>
                    <a:gs pos="0">
                      <a:prstClr val="white"/>
                    </a:gs>
                    <a:gs pos="100000">
                      <a:srgbClr val="0E8BAB"/>
                    </a:gs>
                  </a:gsLst>
                  <a:lin ang="10800000" scaled="1"/>
                  <a:tileRect/>
                </a:gradFill>
              </a:rPr>
              <a:t>Ethical use</a:t>
            </a:r>
          </a:p>
          <a:p>
            <a:pPr marL="914400" lvl="1" indent="-457200">
              <a:buFont typeface="Arial" panose="020B0604020202020204" pitchFamily="34" charset="0"/>
              <a:buChar char="•"/>
            </a:pPr>
            <a:r>
              <a:rPr lang="en-GB" sz="2200" dirty="0">
                <a:gradFill flip="none" rotWithShape="1">
                  <a:gsLst>
                    <a:gs pos="0">
                      <a:prstClr val="white"/>
                    </a:gs>
                    <a:gs pos="100000">
                      <a:srgbClr val="0E8BAB"/>
                    </a:gs>
                  </a:gsLst>
                  <a:lin ang="10800000" scaled="1"/>
                  <a:tileRect/>
                </a:gradFill>
              </a:rPr>
              <a:t>Legal considerations such as IP infringement</a:t>
            </a:r>
          </a:p>
          <a:p>
            <a:pPr marL="914400" lvl="1" indent="-457200">
              <a:buFont typeface="Arial" panose="020B0604020202020204" pitchFamily="34" charset="0"/>
              <a:buChar char="•"/>
            </a:pPr>
            <a:endParaRPr lang="en-GB" sz="2200" dirty="0">
              <a:gradFill flip="none" rotWithShape="1">
                <a:gsLst>
                  <a:gs pos="0">
                    <a:prstClr val="white"/>
                  </a:gs>
                  <a:gs pos="100000">
                    <a:srgbClr val="0E8BAB"/>
                  </a:gs>
                </a:gsLst>
                <a:lin ang="10800000" scaled="1"/>
                <a:tileRect/>
              </a:gradFill>
            </a:endParaRPr>
          </a:p>
          <a:p>
            <a:pPr marL="342900" indent="-342900">
              <a:buFont typeface="Wingdings" panose="05000000000000000000" pitchFamily="2" charset="2"/>
              <a:buChar char="ü"/>
            </a:pPr>
            <a:r>
              <a:rPr lang="en-GB" sz="2400" dirty="0">
                <a:gradFill flip="none" rotWithShape="1">
                  <a:gsLst>
                    <a:gs pos="0">
                      <a:prstClr val="white"/>
                    </a:gs>
                    <a:gs pos="100000">
                      <a:srgbClr val="0E8BAB"/>
                    </a:gs>
                  </a:gsLst>
                  <a:lin ang="10800000" scaled="1"/>
                  <a:tileRect/>
                </a:gradFill>
              </a:rPr>
              <a:t>Put a strong focus on Data Literacy, don’t miss the potential but also mitigate the risks</a:t>
            </a:r>
          </a:p>
          <a:p>
            <a:pPr marL="342900" indent="-342900">
              <a:buFont typeface="Wingdings" panose="05000000000000000000" pitchFamily="2" charset="2"/>
              <a:buChar char="ü"/>
            </a:pPr>
            <a:endParaRPr lang="en-GB" sz="2400" dirty="0">
              <a:gradFill flip="none" rotWithShape="1">
                <a:gsLst>
                  <a:gs pos="0">
                    <a:prstClr val="white"/>
                  </a:gs>
                  <a:gs pos="100000">
                    <a:srgbClr val="0E8BAB"/>
                  </a:gs>
                </a:gsLst>
                <a:lin ang="10800000" scaled="1"/>
                <a:tileRect/>
              </a:gradFill>
            </a:endParaRPr>
          </a:p>
          <a:p>
            <a:pPr marL="342900" indent="-342900">
              <a:buFont typeface="Wingdings" panose="05000000000000000000" pitchFamily="2" charset="2"/>
              <a:buChar char="ü"/>
            </a:pPr>
            <a:r>
              <a:rPr lang="en-GB" sz="2400" dirty="0">
                <a:gradFill flip="none" rotWithShape="1">
                  <a:gsLst>
                    <a:gs pos="0">
                      <a:prstClr val="white"/>
                    </a:gs>
                    <a:gs pos="100000">
                      <a:srgbClr val="0E8BAB"/>
                    </a:gs>
                  </a:gsLst>
                  <a:lin ang="10800000" scaled="1"/>
                  <a:tileRect/>
                </a:gradFill>
              </a:rPr>
              <a:t>Actively manage </a:t>
            </a:r>
            <a:r>
              <a:rPr lang="en-GB" sz="2400" i="1" dirty="0">
                <a:gradFill flip="none" rotWithShape="1">
                  <a:gsLst>
                    <a:gs pos="0">
                      <a:prstClr val="white"/>
                    </a:gs>
                    <a:gs pos="100000">
                      <a:srgbClr val="0E8BAB"/>
                    </a:gs>
                  </a:gsLst>
                  <a:lin ang="10800000" scaled="1"/>
                  <a:tileRect/>
                </a:gradFill>
              </a:rPr>
              <a:t>Your</a:t>
            </a:r>
            <a:r>
              <a:rPr lang="en-GB" sz="2400" dirty="0">
                <a:gradFill flip="none" rotWithShape="1">
                  <a:gsLst>
                    <a:gs pos="0">
                      <a:prstClr val="white"/>
                    </a:gs>
                    <a:gs pos="100000">
                      <a:srgbClr val="0E8BAB"/>
                    </a:gs>
                  </a:gsLst>
                  <a:lin ang="10800000" scaled="1"/>
                  <a:tileRect/>
                </a:gradFill>
              </a:rPr>
              <a:t> data (quality) throughout its full lifecycle</a:t>
            </a:r>
          </a:p>
        </p:txBody>
      </p:sp>
    </p:spTree>
    <p:extLst>
      <p:ext uri="{BB962C8B-B14F-4D97-AF65-F5344CB8AC3E}">
        <p14:creationId xmlns:p14="http://schemas.microsoft.com/office/powerpoint/2010/main" val="904831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5006D3E-D96D-51B4-C189-C7D9F628CD1B}"/>
              </a:ext>
            </a:extLst>
          </p:cNvPr>
          <p:cNvSpPr txBox="1"/>
          <p:nvPr/>
        </p:nvSpPr>
        <p:spPr>
          <a:xfrm>
            <a:off x="251791" y="1043103"/>
            <a:ext cx="5594888" cy="3853323"/>
          </a:xfrm>
          <a:prstGeom prst="rect">
            <a:avLst/>
          </a:prstGeom>
        </p:spPr>
        <p:txBody>
          <a:bodyPr vert="horz" lIns="91440" tIns="45720" rIns="91440" bIns="45720" rtlCol="0">
            <a:normAutofit/>
          </a:bodyPr>
          <a:lstStyle/>
          <a:p>
            <a:pPr>
              <a:lnSpc>
                <a:spcPct val="90000"/>
              </a:lnSpc>
              <a:spcAft>
                <a:spcPts val="600"/>
              </a:spcAft>
            </a:pPr>
            <a:endParaRPr lang="en-US" sz="1050" dirty="0">
              <a:solidFill>
                <a:schemeClr val="bg1"/>
              </a:solidFill>
              <a:latin typeface="BearingPoint Sans L + C" pitchFamily="2" charset="77"/>
            </a:endParaRPr>
          </a:p>
        </p:txBody>
      </p:sp>
      <p:pic>
        <p:nvPicPr>
          <p:cNvPr id="12" name="Picture 11">
            <a:extLst>
              <a:ext uri="{FF2B5EF4-FFF2-40B4-BE49-F238E27FC236}">
                <a16:creationId xmlns:a16="http://schemas.microsoft.com/office/drawing/2014/main" id="{FBA34F31-C79E-2EEC-12D8-27EDFB04CDD9}"/>
              </a:ext>
            </a:extLst>
          </p:cNvPr>
          <p:cNvPicPr>
            <a:picLocks noChangeAspect="1"/>
          </p:cNvPicPr>
          <p:nvPr/>
        </p:nvPicPr>
        <p:blipFill>
          <a:blip r:embed="rId2"/>
          <a:stretch>
            <a:fillRect/>
          </a:stretch>
        </p:blipFill>
        <p:spPr>
          <a:xfrm>
            <a:off x="5974539" y="0"/>
            <a:ext cx="6217461" cy="6217461"/>
          </a:xfrm>
          <a:prstGeom prst="rect">
            <a:avLst/>
          </a:prstGeom>
        </p:spPr>
      </p:pic>
      <p:sp>
        <p:nvSpPr>
          <p:cNvPr id="10" name="TextBox 9">
            <a:extLst>
              <a:ext uri="{FF2B5EF4-FFF2-40B4-BE49-F238E27FC236}">
                <a16:creationId xmlns:a16="http://schemas.microsoft.com/office/drawing/2014/main" id="{6C1491DC-854C-1B3E-D2EA-4B317EB232A6}"/>
              </a:ext>
            </a:extLst>
          </p:cNvPr>
          <p:cNvSpPr txBox="1"/>
          <p:nvPr/>
        </p:nvSpPr>
        <p:spPr>
          <a:xfrm>
            <a:off x="5974539" y="5849477"/>
            <a:ext cx="3323026" cy="369332"/>
          </a:xfrm>
          <a:prstGeom prst="rect">
            <a:avLst/>
          </a:prstGeom>
          <a:noFill/>
        </p:spPr>
        <p:txBody>
          <a:bodyPr wrap="square">
            <a:spAutoFit/>
          </a:bodyPr>
          <a:lstStyle/>
          <a:p>
            <a:r>
              <a:rPr lang="en-GB" b="0" i="0" dirty="0">
                <a:solidFill>
                  <a:schemeClr val="bg1"/>
                </a:solidFill>
                <a:effectLst/>
                <a:latin typeface="Roboto" panose="02000000000000000000" pitchFamily="2" charset="0"/>
              </a:rPr>
              <a:t>Powered by DALL·E 3</a:t>
            </a:r>
            <a:endParaRPr lang="en-IE" dirty="0">
              <a:solidFill>
                <a:schemeClr val="bg1"/>
              </a:solidFill>
            </a:endParaRPr>
          </a:p>
        </p:txBody>
      </p:sp>
      <p:sp>
        <p:nvSpPr>
          <p:cNvPr id="20" name="Content Placeholder 19">
            <a:extLst>
              <a:ext uri="{FF2B5EF4-FFF2-40B4-BE49-F238E27FC236}">
                <a16:creationId xmlns:a16="http://schemas.microsoft.com/office/drawing/2014/main" id="{9AA7258C-F9C0-9BB4-DFAB-F9E5B96699C0}"/>
              </a:ext>
            </a:extLst>
          </p:cNvPr>
          <p:cNvSpPr>
            <a:spLocks noGrp="1"/>
          </p:cNvSpPr>
          <p:nvPr>
            <p:ph idx="1"/>
          </p:nvPr>
        </p:nvSpPr>
        <p:spPr>
          <a:xfrm>
            <a:off x="251791" y="1288455"/>
            <a:ext cx="5697592" cy="4220643"/>
          </a:xfrm>
        </p:spPr>
        <p:txBody>
          <a:bodyPr/>
          <a:lstStyle/>
          <a:p>
            <a:pPr marL="0" indent="0">
              <a:buNone/>
            </a:pPr>
            <a:r>
              <a:rPr lang="en-US" sz="1600" dirty="0">
                <a:solidFill>
                  <a:schemeClr val="accent4"/>
                </a:solidFill>
              </a:rPr>
              <a:t>RESPECT HUMAN DIGNITY AND AUTONOMY:</a:t>
            </a:r>
          </a:p>
          <a:p>
            <a:pPr marL="0" indent="0">
              <a:buNone/>
            </a:pPr>
            <a:r>
              <a:rPr lang="en-US" sz="1600" dirty="0"/>
              <a:t>GENAI should not be used to create fake news, deepfakes, or propaganda that can harm people's reputation, privacy, or freedom.</a:t>
            </a:r>
          </a:p>
          <a:p>
            <a:pPr marL="0" indent="0">
              <a:buNone/>
            </a:pPr>
            <a:r>
              <a:rPr lang="en-US" sz="1600" dirty="0">
                <a:solidFill>
                  <a:schemeClr val="accent4"/>
                </a:solidFill>
              </a:rPr>
              <a:t>PROMOTE DIVERSITY AND INCLUSION:</a:t>
            </a:r>
          </a:p>
          <a:p>
            <a:pPr marL="0" indent="0">
              <a:buNone/>
            </a:pPr>
            <a:r>
              <a:rPr lang="en-US" sz="1600" dirty="0"/>
              <a:t>GENAI should not generate content that is racist, sexist, or offensive to any group of people.</a:t>
            </a:r>
          </a:p>
          <a:p>
            <a:pPr marL="0" indent="0">
              <a:buNone/>
            </a:pPr>
            <a:r>
              <a:rPr lang="en-US" sz="1600" dirty="0">
                <a:solidFill>
                  <a:schemeClr val="accent4"/>
                </a:solidFill>
              </a:rPr>
              <a:t>ENSURE TRANSPARENCY AND ACCOUNTABILITY:</a:t>
            </a:r>
          </a:p>
          <a:p>
            <a:pPr marL="0" indent="0">
              <a:buNone/>
            </a:pPr>
            <a:r>
              <a:rPr lang="en-US" sz="1600" dirty="0"/>
              <a:t>GENAI should not be a black box that hides its logic, data, or outcomes from its users or regulators.</a:t>
            </a:r>
          </a:p>
          <a:p>
            <a:pPr marL="0" indent="0">
              <a:buNone/>
            </a:pPr>
            <a:r>
              <a:rPr lang="en-US" sz="1600" dirty="0">
                <a:solidFill>
                  <a:schemeClr val="accent4"/>
                </a:solidFill>
              </a:rPr>
              <a:t>FOSTER TRUST AND COLLABORATION:</a:t>
            </a:r>
          </a:p>
          <a:p>
            <a:pPr marL="0" indent="0">
              <a:buNone/>
            </a:pPr>
            <a:r>
              <a:rPr lang="en-US" sz="1600" dirty="0"/>
              <a:t>GENAI should not replace human workers, but rather augment their skills and creativity</a:t>
            </a:r>
          </a:p>
          <a:p>
            <a:endParaRPr lang="en-IE" sz="1600" dirty="0"/>
          </a:p>
        </p:txBody>
      </p:sp>
      <p:sp>
        <p:nvSpPr>
          <p:cNvPr id="24" name="Title 23">
            <a:extLst>
              <a:ext uri="{FF2B5EF4-FFF2-40B4-BE49-F238E27FC236}">
                <a16:creationId xmlns:a16="http://schemas.microsoft.com/office/drawing/2014/main" id="{9B893768-5E6F-72BE-D890-35DB1048D489}"/>
              </a:ext>
            </a:extLst>
          </p:cNvPr>
          <p:cNvSpPr>
            <a:spLocks noGrp="1"/>
          </p:cNvSpPr>
          <p:nvPr>
            <p:ph type="title"/>
          </p:nvPr>
        </p:nvSpPr>
        <p:spPr>
          <a:xfrm>
            <a:off x="0" y="365125"/>
            <a:ext cx="5949383" cy="923330"/>
          </a:xfrm>
        </p:spPr>
        <p:txBody>
          <a:bodyPr/>
          <a:lstStyle/>
          <a:p>
            <a:pPr algn="ctr"/>
            <a:r>
              <a:rPr lang="en-US" sz="2000" dirty="0"/>
              <a:t>"With great power comes great responsibility!”</a:t>
            </a:r>
            <a:br>
              <a:rPr lang="en-US" sz="2000" dirty="0"/>
            </a:br>
            <a:r>
              <a:rPr lang="en-US" sz="2000" dirty="0"/>
              <a:t>Famous philosopher, Spider-Man</a:t>
            </a:r>
            <a:br>
              <a:rPr lang="en-IE" sz="2000" dirty="0"/>
            </a:br>
            <a:endParaRPr lang="en-IE" sz="2000" dirty="0"/>
          </a:p>
        </p:txBody>
      </p:sp>
    </p:spTree>
    <p:extLst>
      <p:ext uri="{BB962C8B-B14F-4D97-AF65-F5344CB8AC3E}">
        <p14:creationId xmlns:p14="http://schemas.microsoft.com/office/powerpoint/2010/main" val="18433416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B95FB-0435-0468-840E-EE37A1F0780B}"/>
              </a:ext>
            </a:extLst>
          </p:cNvPr>
          <p:cNvSpPr>
            <a:spLocks noGrp="1"/>
          </p:cNvSpPr>
          <p:nvPr>
            <p:ph type="title"/>
          </p:nvPr>
        </p:nvSpPr>
        <p:spPr>
          <a:xfrm>
            <a:off x="452581" y="411307"/>
            <a:ext cx="11321441" cy="535531"/>
          </a:xfrm>
        </p:spPr>
        <p:txBody>
          <a:bodyPr vert="horz" lIns="91440" tIns="45720" rIns="91440" bIns="45720" rtlCol="0" anchor="t">
            <a:noAutofit/>
          </a:bodyPr>
          <a:lstStyle/>
          <a:p>
            <a:r>
              <a:rPr lang="en-US" sz="2800" dirty="0"/>
              <a:t>Is your organization ready?</a:t>
            </a:r>
            <a:br>
              <a:rPr lang="en-US" sz="2800" dirty="0"/>
            </a:br>
            <a:br>
              <a:rPr lang="en-US" sz="2800" dirty="0"/>
            </a:br>
            <a:br>
              <a:rPr lang="en-US" sz="2800" dirty="0"/>
            </a:br>
            <a:br>
              <a:rPr lang="en-US" sz="2800" dirty="0"/>
            </a:br>
            <a:br>
              <a:rPr lang="en-US" sz="2800" dirty="0"/>
            </a:br>
            <a:br>
              <a:rPr lang="en-US" sz="2800" dirty="0"/>
            </a:br>
            <a:br>
              <a:rPr lang="en-US" sz="2800" dirty="0"/>
            </a:br>
            <a:br>
              <a:rPr lang="en-US" sz="2800" dirty="0"/>
            </a:br>
            <a:r>
              <a:rPr lang="en-US" sz="2800" dirty="0"/>
              <a:t>Take our self assessment</a:t>
            </a:r>
          </a:p>
        </p:txBody>
      </p:sp>
      <p:pic>
        <p:nvPicPr>
          <p:cNvPr id="12290" name="Picture 2" descr="Medium-Long Term (iterative &amp; continuous)">
            <a:extLst>
              <a:ext uri="{FF2B5EF4-FFF2-40B4-BE49-F238E27FC236}">
                <a16:creationId xmlns:a16="http://schemas.microsoft.com/office/drawing/2014/main" id="{B1726A2E-44D0-5392-FF62-4EDB9DB0684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544194" y="2478645"/>
            <a:ext cx="6207720" cy="335216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7F7ADB8-069C-1D34-812B-BEAF3AA6961B}"/>
              </a:ext>
            </a:extLst>
          </p:cNvPr>
          <p:cNvSpPr txBox="1"/>
          <p:nvPr/>
        </p:nvSpPr>
        <p:spPr>
          <a:xfrm>
            <a:off x="5014325" y="2478645"/>
            <a:ext cx="4505552" cy="1655762"/>
          </a:xfrm>
          <a:prstGeom prst="rect">
            <a:avLst/>
          </a:prstGeom>
        </p:spPr>
        <p:txBody>
          <a:bodyPr vert="horz" lIns="91440" tIns="45720" rIns="91440" bIns="45720" rtlCol="0">
            <a:normAutofit/>
          </a:bodyPr>
          <a:lstStyle/>
          <a:p>
            <a:pPr>
              <a:lnSpc>
                <a:spcPct val="90000"/>
              </a:lnSpc>
              <a:spcBef>
                <a:spcPts val="1000"/>
              </a:spcBef>
            </a:pPr>
            <a:endParaRPr lang="en-US" sz="2000" dirty="0">
              <a:solidFill>
                <a:schemeClr val="bg1"/>
              </a:solidFill>
            </a:endParaRPr>
          </a:p>
        </p:txBody>
      </p:sp>
      <p:pic>
        <p:nvPicPr>
          <p:cNvPr id="4" name="Picture 3">
            <a:extLst>
              <a:ext uri="{FF2B5EF4-FFF2-40B4-BE49-F238E27FC236}">
                <a16:creationId xmlns:a16="http://schemas.microsoft.com/office/drawing/2014/main" id="{29E779AA-F47C-A4A7-67BC-F05C6C4A52AF}"/>
              </a:ext>
            </a:extLst>
          </p:cNvPr>
          <p:cNvPicPr>
            <a:picLocks noChangeAspect="1"/>
          </p:cNvPicPr>
          <p:nvPr/>
        </p:nvPicPr>
        <p:blipFill>
          <a:blip r:embed="rId3"/>
          <a:stretch>
            <a:fillRect/>
          </a:stretch>
        </p:blipFill>
        <p:spPr>
          <a:xfrm>
            <a:off x="6835493" y="547715"/>
            <a:ext cx="3843809" cy="1799993"/>
          </a:xfrm>
          <a:prstGeom prst="rect">
            <a:avLst/>
          </a:prstGeom>
        </p:spPr>
      </p:pic>
      <p:pic>
        <p:nvPicPr>
          <p:cNvPr id="3" name="Picture 2">
            <a:extLst>
              <a:ext uri="{FF2B5EF4-FFF2-40B4-BE49-F238E27FC236}">
                <a16:creationId xmlns:a16="http://schemas.microsoft.com/office/drawing/2014/main" id="{2A76F27A-8DFB-6552-43DE-CBBBD81D7E70}"/>
              </a:ext>
            </a:extLst>
          </p:cNvPr>
          <p:cNvPicPr>
            <a:picLocks noChangeAspect="1"/>
          </p:cNvPicPr>
          <p:nvPr/>
        </p:nvPicPr>
        <p:blipFill>
          <a:blip r:embed="rId4"/>
          <a:stretch>
            <a:fillRect/>
          </a:stretch>
        </p:blipFill>
        <p:spPr>
          <a:xfrm>
            <a:off x="1346270" y="1072617"/>
            <a:ext cx="2297767" cy="2297767"/>
          </a:xfrm>
          <a:prstGeom prst="rect">
            <a:avLst/>
          </a:prstGeom>
        </p:spPr>
      </p:pic>
    </p:spTree>
    <p:extLst>
      <p:ext uri="{BB962C8B-B14F-4D97-AF65-F5344CB8AC3E}">
        <p14:creationId xmlns:p14="http://schemas.microsoft.com/office/powerpoint/2010/main" val="28468956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86F6A2-3FB8-0248-29B7-E6878864275D}"/>
              </a:ext>
            </a:extLst>
          </p:cNvPr>
          <p:cNvPicPr>
            <a:picLocks noChangeAspect="1"/>
          </p:cNvPicPr>
          <p:nvPr/>
        </p:nvPicPr>
        <p:blipFill rotWithShape="1">
          <a:blip r:embed="rId2">
            <a:alphaModFix amt="70000"/>
          </a:blip>
          <a:srcRect l="26759"/>
          <a:stretch/>
        </p:blipFill>
        <p:spPr>
          <a:xfrm flipH="1">
            <a:off x="7640219" y="0"/>
            <a:ext cx="4551781" cy="6214820"/>
          </a:xfrm>
          <a:prstGeom prst="rect">
            <a:avLst/>
          </a:prstGeom>
          <a:effectLst>
            <a:softEdge rad="236328"/>
          </a:effectLst>
        </p:spPr>
      </p:pic>
      <p:pic>
        <p:nvPicPr>
          <p:cNvPr id="4" name="Picture 3">
            <a:extLst>
              <a:ext uri="{FF2B5EF4-FFF2-40B4-BE49-F238E27FC236}">
                <a16:creationId xmlns:a16="http://schemas.microsoft.com/office/drawing/2014/main" id="{A33A036B-D663-180D-F872-F49880E12668}"/>
              </a:ext>
            </a:extLst>
          </p:cNvPr>
          <p:cNvPicPr>
            <a:picLocks noChangeAspect="1"/>
          </p:cNvPicPr>
          <p:nvPr/>
        </p:nvPicPr>
        <p:blipFill>
          <a:blip r:embed="rId3"/>
          <a:stretch>
            <a:fillRect/>
          </a:stretch>
        </p:blipFill>
        <p:spPr>
          <a:xfrm>
            <a:off x="319437" y="792297"/>
            <a:ext cx="3492500" cy="1168400"/>
          </a:xfrm>
          <a:prstGeom prst="rect">
            <a:avLst/>
          </a:prstGeom>
        </p:spPr>
      </p:pic>
      <p:pic>
        <p:nvPicPr>
          <p:cNvPr id="5" name="Picture 4">
            <a:extLst>
              <a:ext uri="{FF2B5EF4-FFF2-40B4-BE49-F238E27FC236}">
                <a16:creationId xmlns:a16="http://schemas.microsoft.com/office/drawing/2014/main" id="{82D0F87B-7D7F-F777-0BE6-4154D42307BE}"/>
              </a:ext>
            </a:extLst>
          </p:cNvPr>
          <p:cNvPicPr>
            <a:picLocks noChangeAspect="1"/>
          </p:cNvPicPr>
          <p:nvPr/>
        </p:nvPicPr>
        <p:blipFill>
          <a:blip r:embed="rId4"/>
          <a:stretch>
            <a:fillRect/>
          </a:stretch>
        </p:blipFill>
        <p:spPr>
          <a:xfrm>
            <a:off x="3811937" y="792297"/>
            <a:ext cx="2578100" cy="2279650"/>
          </a:xfrm>
          <a:prstGeom prst="rect">
            <a:avLst/>
          </a:prstGeom>
        </p:spPr>
      </p:pic>
      <p:sp>
        <p:nvSpPr>
          <p:cNvPr id="7" name="TextBox 6">
            <a:extLst>
              <a:ext uri="{FF2B5EF4-FFF2-40B4-BE49-F238E27FC236}">
                <a16:creationId xmlns:a16="http://schemas.microsoft.com/office/drawing/2014/main" id="{B2BD44BA-A928-FF46-1F39-F0242A7C849C}"/>
              </a:ext>
            </a:extLst>
          </p:cNvPr>
          <p:cNvSpPr txBox="1"/>
          <p:nvPr/>
        </p:nvSpPr>
        <p:spPr>
          <a:xfrm>
            <a:off x="502169" y="4942656"/>
            <a:ext cx="7138049" cy="369332"/>
          </a:xfrm>
          <a:prstGeom prst="rect">
            <a:avLst/>
          </a:prstGeom>
          <a:noFill/>
        </p:spPr>
        <p:txBody>
          <a:bodyPr wrap="square">
            <a:spAutoFit/>
          </a:bodyPr>
          <a:lstStyle/>
          <a:p>
            <a:r>
              <a:rPr lang="en-IE" dirty="0">
                <a:solidFill>
                  <a:schemeClr val="bg1"/>
                </a:solidFill>
              </a:rPr>
              <a:t>https://digital-</a:t>
            </a:r>
            <a:r>
              <a:rPr lang="en-IE" dirty="0" err="1">
                <a:solidFill>
                  <a:schemeClr val="bg1"/>
                </a:solidFill>
              </a:rPr>
              <a:t>strategy.ec.europa.eu</a:t>
            </a:r>
            <a:r>
              <a:rPr lang="en-IE" dirty="0">
                <a:solidFill>
                  <a:schemeClr val="bg1"/>
                </a:solidFill>
              </a:rPr>
              <a:t>/</a:t>
            </a:r>
            <a:r>
              <a:rPr lang="en-IE" dirty="0" err="1">
                <a:solidFill>
                  <a:schemeClr val="bg1"/>
                </a:solidFill>
              </a:rPr>
              <a:t>en</a:t>
            </a:r>
            <a:r>
              <a:rPr lang="en-IE" dirty="0">
                <a:solidFill>
                  <a:schemeClr val="bg1"/>
                </a:solidFill>
              </a:rPr>
              <a:t>/policies/expert-group-ai</a:t>
            </a:r>
          </a:p>
        </p:txBody>
      </p:sp>
      <p:pic>
        <p:nvPicPr>
          <p:cNvPr id="8" name="Picture 7">
            <a:extLst>
              <a:ext uri="{FF2B5EF4-FFF2-40B4-BE49-F238E27FC236}">
                <a16:creationId xmlns:a16="http://schemas.microsoft.com/office/drawing/2014/main" id="{1132B27E-4B48-AD73-00F8-D7FC52C40C79}"/>
              </a:ext>
            </a:extLst>
          </p:cNvPr>
          <p:cNvPicPr>
            <a:picLocks noChangeAspect="1"/>
          </p:cNvPicPr>
          <p:nvPr/>
        </p:nvPicPr>
        <p:blipFill>
          <a:blip r:embed="rId5"/>
          <a:stretch>
            <a:fillRect/>
          </a:stretch>
        </p:blipFill>
        <p:spPr>
          <a:xfrm>
            <a:off x="502169" y="3930891"/>
            <a:ext cx="2578100" cy="945705"/>
          </a:xfrm>
          <a:prstGeom prst="rect">
            <a:avLst/>
          </a:prstGeom>
        </p:spPr>
      </p:pic>
      <p:sp>
        <p:nvSpPr>
          <p:cNvPr id="2" name="TextBox 1">
            <a:extLst>
              <a:ext uri="{FF2B5EF4-FFF2-40B4-BE49-F238E27FC236}">
                <a16:creationId xmlns:a16="http://schemas.microsoft.com/office/drawing/2014/main" id="{934E3392-9419-B453-E80F-6894AD735105}"/>
              </a:ext>
            </a:extLst>
          </p:cNvPr>
          <p:cNvSpPr txBox="1"/>
          <p:nvPr/>
        </p:nvSpPr>
        <p:spPr>
          <a:xfrm>
            <a:off x="8666686" y="5937861"/>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spTree>
    <p:extLst>
      <p:ext uri="{BB962C8B-B14F-4D97-AF65-F5344CB8AC3E}">
        <p14:creationId xmlns:p14="http://schemas.microsoft.com/office/powerpoint/2010/main" val="19078109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E5D29DE-EED8-0C11-4690-2C8BDB615D56}"/>
              </a:ext>
            </a:extLst>
          </p:cNvPr>
          <p:cNvGrpSpPr/>
          <p:nvPr/>
        </p:nvGrpSpPr>
        <p:grpSpPr>
          <a:xfrm>
            <a:off x="139485" y="247973"/>
            <a:ext cx="12052515" cy="5718874"/>
            <a:chOff x="1" y="17207310"/>
            <a:chExt cx="23823014" cy="13465968"/>
          </a:xfrm>
        </p:grpSpPr>
        <p:pic>
          <p:nvPicPr>
            <p:cNvPr id="3" name="Picture 9">
              <a:extLst>
                <a:ext uri="{FF2B5EF4-FFF2-40B4-BE49-F238E27FC236}">
                  <a16:creationId xmlns:a16="http://schemas.microsoft.com/office/drawing/2014/main" id="{0ED443AD-379C-D9F9-F7D5-D0E6B321FD48}"/>
                </a:ext>
              </a:extLst>
            </p:cNvPr>
            <p:cNvPicPr>
              <a:picLocks noChangeAspect="1"/>
            </p:cNvPicPr>
            <p:nvPr/>
          </p:nvPicPr>
          <p:blipFill rotWithShape="1">
            <a:blip r:embed="rId2"/>
            <a:srcRect b="3990"/>
            <a:stretch/>
          </p:blipFill>
          <p:spPr>
            <a:xfrm>
              <a:off x="10960078" y="23940295"/>
              <a:ext cx="4954125" cy="6464323"/>
            </a:xfrm>
            <a:prstGeom prst="rect">
              <a:avLst/>
            </a:prstGeom>
          </p:spPr>
        </p:pic>
        <p:pic>
          <p:nvPicPr>
            <p:cNvPr id="4" name="Picture 5">
              <a:extLst>
                <a:ext uri="{FF2B5EF4-FFF2-40B4-BE49-F238E27FC236}">
                  <a16:creationId xmlns:a16="http://schemas.microsoft.com/office/drawing/2014/main" id="{49661D6F-0CBF-02C4-F531-7D51C2E43CFF}"/>
                </a:ext>
              </a:extLst>
            </p:cNvPr>
            <p:cNvPicPr>
              <a:picLocks noChangeAspect="1"/>
            </p:cNvPicPr>
            <p:nvPr/>
          </p:nvPicPr>
          <p:blipFill>
            <a:blip r:embed="rId3"/>
            <a:stretch>
              <a:fillRect/>
            </a:stretch>
          </p:blipFill>
          <p:spPr>
            <a:xfrm>
              <a:off x="1" y="17207310"/>
              <a:ext cx="10455929" cy="13465968"/>
            </a:xfrm>
            <a:prstGeom prst="rect">
              <a:avLst/>
            </a:prstGeom>
          </p:spPr>
        </p:pic>
        <p:pic>
          <p:nvPicPr>
            <p:cNvPr id="5" name="Picture 4">
              <a:extLst>
                <a:ext uri="{FF2B5EF4-FFF2-40B4-BE49-F238E27FC236}">
                  <a16:creationId xmlns:a16="http://schemas.microsoft.com/office/drawing/2014/main" id="{0B71379D-B9C8-7B2A-9719-71AC777FBDC7}"/>
                </a:ext>
              </a:extLst>
            </p:cNvPr>
            <p:cNvPicPr>
              <a:picLocks noChangeAspect="1"/>
            </p:cNvPicPr>
            <p:nvPr/>
          </p:nvPicPr>
          <p:blipFill>
            <a:blip r:embed="rId4"/>
            <a:stretch>
              <a:fillRect/>
            </a:stretch>
          </p:blipFill>
          <p:spPr>
            <a:xfrm>
              <a:off x="10778140" y="17424207"/>
              <a:ext cx="4926359" cy="6732984"/>
            </a:xfrm>
            <a:prstGeom prst="rect">
              <a:avLst/>
            </a:prstGeom>
          </p:spPr>
        </p:pic>
        <p:pic>
          <p:nvPicPr>
            <p:cNvPr id="6" name="Picture 11">
              <a:extLst>
                <a:ext uri="{FF2B5EF4-FFF2-40B4-BE49-F238E27FC236}">
                  <a16:creationId xmlns:a16="http://schemas.microsoft.com/office/drawing/2014/main" id="{3847849E-DA83-9485-3090-010637BC64A0}"/>
                </a:ext>
              </a:extLst>
            </p:cNvPr>
            <p:cNvPicPr>
              <a:picLocks noChangeAspect="1"/>
            </p:cNvPicPr>
            <p:nvPr/>
          </p:nvPicPr>
          <p:blipFill>
            <a:blip r:embed="rId5"/>
            <a:stretch>
              <a:fillRect/>
            </a:stretch>
          </p:blipFill>
          <p:spPr>
            <a:xfrm>
              <a:off x="15914201" y="18514134"/>
              <a:ext cx="7908814" cy="10852320"/>
            </a:xfrm>
            <a:prstGeom prst="rect">
              <a:avLst/>
            </a:prstGeom>
          </p:spPr>
        </p:pic>
      </p:grpSp>
    </p:spTree>
    <p:extLst>
      <p:ext uri="{BB962C8B-B14F-4D97-AF65-F5344CB8AC3E}">
        <p14:creationId xmlns:p14="http://schemas.microsoft.com/office/powerpoint/2010/main" val="37656166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B232A8-5459-2CF6-D9CC-10DDC90BB5A6}"/>
              </a:ext>
            </a:extLst>
          </p:cNvPr>
          <p:cNvSpPr/>
          <p:nvPr/>
        </p:nvSpPr>
        <p:spPr>
          <a:xfrm>
            <a:off x="554661" y="1264493"/>
            <a:ext cx="7133072" cy="1384995"/>
          </a:xfrm>
          <a:prstGeom prst="rect">
            <a:avLst/>
          </a:prstGeom>
          <a:noFill/>
        </p:spPr>
        <p:txBody>
          <a:bodyPr wrap="square" rtlCol="0">
            <a:spAutoFit/>
          </a:bodyPr>
          <a:lstStyle/>
          <a:p>
            <a: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t>DATA GOVERNANCE </a:t>
            </a:r>
            <a:b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br>
            <a: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t>A KEYSTONE FOR </a:t>
            </a:r>
            <a:b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br>
            <a:r>
              <a:rPr lang="en-GB" sz="2800" dirty="0">
                <a:gradFill flip="none" rotWithShape="1">
                  <a:gsLst>
                    <a:gs pos="0">
                      <a:schemeClr val="bg1"/>
                    </a:gs>
                    <a:gs pos="100000">
                      <a:srgbClr val="0E8BAB"/>
                    </a:gs>
                  </a:gsLst>
                  <a:lin ang="10800000" scaled="1"/>
                  <a:tileRect/>
                </a:gradFill>
                <a:latin typeface="Lato" panose="020F0502020204030203" pitchFamily="34" charset="0"/>
                <a:ea typeface="Lato" panose="020F0502020204030203" pitchFamily="34" charset="0"/>
                <a:cs typeface="Lato" panose="020F0502020204030203" pitchFamily="34" charset="0"/>
              </a:rPr>
              <a:t>COMPLIANT AI AND DIGITAL TRUST </a:t>
            </a:r>
          </a:p>
        </p:txBody>
      </p:sp>
      <p:sp>
        <p:nvSpPr>
          <p:cNvPr id="3" name="Rectangle 2">
            <a:extLst>
              <a:ext uri="{FF2B5EF4-FFF2-40B4-BE49-F238E27FC236}">
                <a16:creationId xmlns:a16="http://schemas.microsoft.com/office/drawing/2014/main" id="{D194C8F8-1BC6-3D6F-5848-FC0F710D8F16}"/>
              </a:ext>
            </a:extLst>
          </p:cNvPr>
          <p:cNvSpPr/>
          <p:nvPr/>
        </p:nvSpPr>
        <p:spPr>
          <a:xfrm>
            <a:off x="554661" y="4418596"/>
            <a:ext cx="6445051" cy="400110"/>
          </a:xfrm>
          <a:prstGeom prst="rect">
            <a:avLst/>
          </a:prstGeom>
        </p:spPr>
        <p:txBody>
          <a:bodyPr wrap="square" lIns="91440" tIns="45720" rIns="91440" bIns="45720" anchor="t">
            <a:spAutoFit/>
          </a:bodyPr>
          <a:lstStyle/>
          <a:p>
            <a:r>
              <a:rPr lang="en-GB" sz="2000" dirty="0">
                <a:gradFill flip="none" rotWithShape="1">
                  <a:gsLst>
                    <a:gs pos="0">
                      <a:schemeClr val="bg1"/>
                    </a:gs>
                    <a:gs pos="100000">
                      <a:srgbClr val="0E8BAB"/>
                    </a:gs>
                  </a:gsLst>
                  <a:lin ang="10800000" scaled="1"/>
                  <a:tileRect/>
                </a:gradFill>
                <a:latin typeface="Lato"/>
                <a:ea typeface="Lato"/>
                <a:cs typeface="Lato"/>
              </a:rPr>
              <a:t>March 27</a:t>
            </a:r>
            <a:r>
              <a:rPr lang="en-GB" sz="2000" baseline="30000" dirty="0">
                <a:gradFill flip="none" rotWithShape="1">
                  <a:gsLst>
                    <a:gs pos="0">
                      <a:schemeClr val="bg1"/>
                    </a:gs>
                    <a:gs pos="100000">
                      <a:srgbClr val="0E8BAB"/>
                    </a:gs>
                  </a:gsLst>
                  <a:lin ang="10800000" scaled="1"/>
                  <a:tileRect/>
                </a:gradFill>
                <a:latin typeface="Lato"/>
                <a:ea typeface="Lato"/>
                <a:cs typeface="Lato"/>
              </a:rPr>
              <a:t>th</a:t>
            </a:r>
            <a:r>
              <a:rPr lang="en-GB" sz="2000" dirty="0">
                <a:gradFill flip="none" rotWithShape="1">
                  <a:gsLst>
                    <a:gs pos="0">
                      <a:schemeClr val="bg1"/>
                    </a:gs>
                    <a:gs pos="100000">
                      <a:srgbClr val="0E8BAB"/>
                    </a:gs>
                  </a:gsLst>
                  <a:lin ang="10800000" scaled="1"/>
                  <a:tileRect/>
                </a:gradFill>
                <a:latin typeface="Lato"/>
                <a:ea typeface="Lato"/>
                <a:cs typeface="Lato"/>
              </a:rPr>
              <a:t>, 2024</a:t>
            </a:r>
          </a:p>
        </p:txBody>
      </p:sp>
      <p:sp>
        <p:nvSpPr>
          <p:cNvPr id="4" name="Rectangle 3">
            <a:extLst>
              <a:ext uri="{FF2B5EF4-FFF2-40B4-BE49-F238E27FC236}">
                <a16:creationId xmlns:a16="http://schemas.microsoft.com/office/drawing/2014/main" id="{A501EB85-295B-BB56-78A9-6A23E809E587}"/>
              </a:ext>
            </a:extLst>
          </p:cNvPr>
          <p:cNvSpPr/>
          <p:nvPr/>
        </p:nvSpPr>
        <p:spPr>
          <a:xfrm>
            <a:off x="554661" y="4885621"/>
            <a:ext cx="6829778" cy="707886"/>
          </a:xfrm>
          <a:prstGeom prst="rect">
            <a:avLst/>
          </a:prstGeom>
        </p:spPr>
        <p:txBody>
          <a:bodyPr wrap="square">
            <a:spAutoFit/>
          </a:bodyPr>
          <a:lstStyle/>
          <a:p>
            <a:r>
              <a:rPr lang="en-GB" sz="2000">
                <a:gradFill flip="none" rotWithShape="1">
                  <a:gsLst>
                    <a:gs pos="0">
                      <a:schemeClr val="bg1"/>
                    </a:gs>
                    <a:gs pos="100000">
                      <a:srgbClr val="0E8BAB"/>
                    </a:gs>
                  </a:gsLst>
                  <a:lin ang="0" scaled="1"/>
                  <a:tileRect/>
                </a:gradFill>
                <a:latin typeface="Lato" panose="020F0502020204030203" pitchFamily="34" charset="0"/>
                <a:ea typeface="Lato" panose="020F0502020204030203" pitchFamily="34" charset="0"/>
                <a:cs typeface="Lato" panose="020F0502020204030203" pitchFamily="34" charset="0"/>
              </a:rPr>
              <a:t>Jan Henderyckx</a:t>
            </a:r>
          </a:p>
          <a:p>
            <a:r>
              <a:rPr lang="en-GB" sz="2000">
                <a:gradFill flip="none" rotWithShape="1">
                  <a:gsLst>
                    <a:gs pos="0">
                      <a:schemeClr val="bg1"/>
                    </a:gs>
                    <a:gs pos="100000">
                      <a:srgbClr val="0E8BAB"/>
                    </a:gs>
                  </a:gsLst>
                  <a:lin ang="0" scaled="1"/>
                  <a:tileRect/>
                </a:gradFill>
                <a:latin typeface="Lato" panose="020F0502020204030203" pitchFamily="34" charset="0"/>
                <a:ea typeface="Lato" panose="020F0502020204030203" pitchFamily="34" charset="0"/>
                <a:cs typeface="Lato" panose="020F0502020204030203" pitchFamily="34" charset="0"/>
              </a:rPr>
              <a:t>Partner</a:t>
            </a:r>
            <a:endParaRPr lang="en-BE" sz="2000">
              <a:gradFill flip="none" rotWithShape="1">
                <a:gsLst>
                  <a:gs pos="0">
                    <a:schemeClr val="bg1"/>
                  </a:gs>
                  <a:gs pos="100000">
                    <a:srgbClr val="0E8BAB"/>
                  </a:gs>
                </a:gsLst>
                <a:lin ang="0" scaled="1"/>
                <a:tileRect/>
              </a:gradFill>
              <a:latin typeface="Lato" panose="020F0502020204030203" pitchFamily="34" charset="0"/>
              <a:ea typeface="Lato" panose="020F0502020204030203" pitchFamily="34" charset="0"/>
              <a:cs typeface="Lato" panose="020F0502020204030203" pitchFamily="34" charset="0"/>
            </a:endParaRPr>
          </a:p>
        </p:txBody>
      </p:sp>
      <p:pic>
        <p:nvPicPr>
          <p:cNvPr id="6" name="Picture 5">
            <a:extLst>
              <a:ext uri="{FF2B5EF4-FFF2-40B4-BE49-F238E27FC236}">
                <a16:creationId xmlns:a16="http://schemas.microsoft.com/office/drawing/2014/main" id="{DB101C63-762B-7B4F-9EC0-18D6F0264418}"/>
              </a:ext>
            </a:extLst>
          </p:cNvPr>
          <p:cNvPicPr>
            <a:picLocks noChangeAspect="1"/>
          </p:cNvPicPr>
          <p:nvPr/>
        </p:nvPicPr>
        <p:blipFill rotWithShape="1">
          <a:blip r:embed="rId2">
            <a:alphaModFix amt="60000"/>
          </a:blip>
          <a:srcRect r="35205"/>
          <a:stretch/>
        </p:blipFill>
        <p:spPr>
          <a:xfrm>
            <a:off x="8145050" y="0"/>
            <a:ext cx="4046950" cy="6245817"/>
          </a:xfrm>
          <a:prstGeom prst="rect">
            <a:avLst/>
          </a:prstGeom>
          <a:effectLst>
            <a:softEdge rad="83497"/>
          </a:effectLst>
        </p:spPr>
      </p:pic>
      <p:sp>
        <p:nvSpPr>
          <p:cNvPr id="9" name="TextBox 8">
            <a:extLst>
              <a:ext uri="{FF2B5EF4-FFF2-40B4-BE49-F238E27FC236}">
                <a16:creationId xmlns:a16="http://schemas.microsoft.com/office/drawing/2014/main" id="{EDE74750-3DF5-3067-FADC-1F0327245CF6}"/>
              </a:ext>
            </a:extLst>
          </p:cNvPr>
          <p:cNvSpPr txBox="1"/>
          <p:nvPr/>
        </p:nvSpPr>
        <p:spPr>
          <a:xfrm>
            <a:off x="8240661" y="5967757"/>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pic>
        <p:nvPicPr>
          <p:cNvPr id="10" name="Picture 9">
            <a:extLst>
              <a:ext uri="{FF2B5EF4-FFF2-40B4-BE49-F238E27FC236}">
                <a16:creationId xmlns:a16="http://schemas.microsoft.com/office/drawing/2014/main" id="{7685BD36-6643-926D-729B-7DFB64C829D4}"/>
              </a:ext>
            </a:extLst>
          </p:cNvPr>
          <p:cNvPicPr>
            <a:picLocks noChangeAspect="1"/>
          </p:cNvPicPr>
          <p:nvPr/>
        </p:nvPicPr>
        <p:blipFill>
          <a:blip r:embed="rId3"/>
          <a:stretch>
            <a:fillRect/>
          </a:stretch>
        </p:blipFill>
        <p:spPr>
          <a:xfrm>
            <a:off x="8873237" y="4418596"/>
            <a:ext cx="2764102" cy="1294384"/>
          </a:xfrm>
          <a:prstGeom prst="rect">
            <a:avLst/>
          </a:prstGeom>
        </p:spPr>
      </p:pic>
      <p:sp>
        <p:nvSpPr>
          <p:cNvPr id="5" name="TextBox 4">
            <a:extLst>
              <a:ext uri="{FF2B5EF4-FFF2-40B4-BE49-F238E27FC236}">
                <a16:creationId xmlns:a16="http://schemas.microsoft.com/office/drawing/2014/main" id="{8E68CD45-EC6A-A6FD-31F9-C489B1DF5CC0}"/>
              </a:ext>
            </a:extLst>
          </p:cNvPr>
          <p:cNvSpPr txBox="1"/>
          <p:nvPr/>
        </p:nvSpPr>
        <p:spPr>
          <a:xfrm>
            <a:off x="7095281" y="2129742"/>
            <a:ext cx="184731" cy="369332"/>
          </a:xfrm>
          <a:prstGeom prst="rect">
            <a:avLst/>
          </a:prstGeom>
          <a:noFill/>
        </p:spPr>
        <p:txBody>
          <a:bodyPr wrap="none" rtlCol="0">
            <a:spAutoFit/>
          </a:bodyPr>
          <a:lstStyle/>
          <a:p>
            <a:endParaRPr lang="en-IE"/>
          </a:p>
        </p:txBody>
      </p:sp>
    </p:spTree>
    <p:extLst>
      <p:ext uri="{BB962C8B-B14F-4D97-AF65-F5344CB8AC3E}">
        <p14:creationId xmlns:p14="http://schemas.microsoft.com/office/powerpoint/2010/main" val="3211008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nline Media 7" descr="Saudi’s Male Humanoid Robot Touches Female Journalist Inappropriately">
            <a:hlinkClick r:id="" action="ppaction://media"/>
            <a:extLst>
              <a:ext uri="{FF2B5EF4-FFF2-40B4-BE49-F238E27FC236}">
                <a16:creationId xmlns:a16="http://schemas.microsoft.com/office/drawing/2014/main" id="{0B668320-462C-9DF3-8811-CB30F47C88E3}"/>
              </a:ext>
            </a:extLst>
          </p:cNvPr>
          <p:cNvPicPr>
            <a:picLocks noRot="1" noChangeAspect="1"/>
          </p:cNvPicPr>
          <p:nvPr>
            <a:videoFile r:link="rId1"/>
          </p:nvPr>
        </p:nvPicPr>
        <p:blipFill rotWithShape="1">
          <a:blip r:embed="rId3"/>
          <a:srcRect l="29364" r="29022"/>
          <a:stretch/>
        </p:blipFill>
        <p:spPr>
          <a:xfrm>
            <a:off x="4110185" y="357124"/>
            <a:ext cx="3971630" cy="5392230"/>
          </a:xfrm>
          <a:prstGeom prst="rect">
            <a:avLst/>
          </a:prstGeom>
        </p:spPr>
      </p:pic>
      <p:pic>
        <p:nvPicPr>
          <p:cNvPr id="15" name="Picture 14">
            <a:extLst>
              <a:ext uri="{FF2B5EF4-FFF2-40B4-BE49-F238E27FC236}">
                <a16:creationId xmlns:a16="http://schemas.microsoft.com/office/drawing/2014/main" id="{B89218C5-6B4D-3B61-404B-E1107890F5F4}"/>
              </a:ext>
            </a:extLst>
          </p:cNvPr>
          <p:cNvPicPr>
            <a:picLocks noChangeAspect="1"/>
          </p:cNvPicPr>
          <p:nvPr/>
        </p:nvPicPr>
        <p:blipFill>
          <a:blip r:embed="rId4"/>
          <a:stretch>
            <a:fillRect/>
          </a:stretch>
        </p:blipFill>
        <p:spPr>
          <a:xfrm>
            <a:off x="793342" y="2665448"/>
            <a:ext cx="1577181" cy="1115930"/>
          </a:xfrm>
          <a:prstGeom prst="rect">
            <a:avLst/>
          </a:prstGeom>
        </p:spPr>
      </p:pic>
      <p:sp>
        <p:nvSpPr>
          <p:cNvPr id="16" name="TextBox 15">
            <a:extLst>
              <a:ext uri="{FF2B5EF4-FFF2-40B4-BE49-F238E27FC236}">
                <a16:creationId xmlns:a16="http://schemas.microsoft.com/office/drawing/2014/main" id="{6F4E4538-55FF-878C-8018-817C79F3775C}"/>
              </a:ext>
            </a:extLst>
          </p:cNvPr>
          <p:cNvSpPr txBox="1"/>
          <p:nvPr/>
        </p:nvSpPr>
        <p:spPr>
          <a:xfrm>
            <a:off x="793342" y="357124"/>
            <a:ext cx="2616571" cy="2308324"/>
          </a:xfrm>
          <a:prstGeom prst="rect">
            <a:avLst/>
          </a:prstGeom>
          <a:noFill/>
        </p:spPr>
        <p:txBody>
          <a:bodyPr wrap="square">
            <a:spAutoFit/>
          </a:bodyPr>
          <a:lstStyle/>
          <a:p>
            <a:r>
              <a:rPr lang="en-GB" b="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CHALLENGING SYSTEMATIC PREJUDICES: </a:t>
            </a:r>
            <a:br>
              <a:rPr lang="en-GB" b="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br>
            <a:r>
              <a:rPr lang="en-GB" b="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AN INVESTIGATION INTO GENDER BIAS IN LARGE LANGUAGE MODELS”.</a:t>
            </a:r>
          </a:p>
          <a:p>
            <a:pPr algn="r"/>
            <a:r>
              <a:rPr lang="en-GB" b="0" dirty="0">
                <a:solidFill>
                  <a:schemeClr val="bg1"/>
                </a:solidFill>
                <a:effectLst/>
                <a:latin typeface="Open Sans" panose="020B0606030504020204" pitchFamily="34" charset="0"/>
                <a:ea typeface="Open Sans" panose="020B0606030504020204" pitchFamily="34" charset="0"/>
                <a:cs typeface="Open Sans" panose="020B0606030504020204" pitchFamily="34" charset="0"/>
              </a:rPr>
              <a:t> </a:t>
            </a:r>
            <a:endParaRPr lang="en-GB"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1" name="Picture 20">
            <a:extLst>
              <a:ext uri="{FF2B5EF4-FFF2-40B4-BE49-F238E27FC236}">
                <a16:creationId xmlns:a16="http://schemas.microsoft.com/office/drawing/2014/main" id="{739BBFDC-08E0-533E-CE0D-B3C41E8FF933}"/>
              </a:ext>
            </a:extLst>
          </p:cNvPr>
          <p:cNvPicPr>
            <a:picLocks noChangeAspect="1"/>
          </p:cNvPicPr>
          <p:nvPr/>
        </p:nvPicPr>
        <p:blipFill>
          <a:blip r:embed="rId5">
            <a:alphaModFix amt="50000"/>
          </a:blip>
          <a:stretch>
            <a:fillRect/>
          </a:stretch>
        </p:blipFill>
        <p:spPr>
          <a:xfrm>
            <a:off x="8499423" y="0"/>
            <a:ext cx="5161022" cy="6199471"/>
          </a:xfrm>
          <a:prstGeom prst="rect">
            <a:avLst/>
          </a:prstGeom>
        </p:spPr>
      </p:pic>
      <p:sp>
        <p:nvSpPr>
          <p:cNvPr id="20" name="TextBox 19">
            <a:extLst>
              <a:ext uri="{FF2B5EF4-FFF2-40B4-BE49-F238E27FC236}">
                <a16:creationId xmlns:a16="http://schemas.microsoft.com/office/drawing/2014/main" id="{DCD124E4-B35B-9757-69F2-9A0C5B6226AA}"/>
              </a:ext>
            </a:extLst>
          </p:cNvPr>
          <p:cNvSpPr txBox="1"/>
          <p:nvPr/>
        </p:nvSpPr>
        <p:spPr>
          <a:xfrm>
            <a:off x="8666686" y="5937861"/>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pic>
        <p:nvPicPr>
          <p:cNvPr id="4100" name="Picture 4" descr="Davidson Oturu on LinkedIn: Google's Gemini faces an AI bias problem (call  it &quot;Woke&quot; if you like), and…">
            <a:extLst>
              <a:ext uri="{FF2B5EF4-FFF2-40B4-BE49-F238E27FC236}">
                <a16:creationId xmlns:a16="http://schemas.microsoft.com/office/drawing/2014/main" id="{2D38C287-E9B2-E8F6-FBD8-8BBEA5029E1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898" r="16511"/>
          <a:stretch/>
        </p:blipFill>
        <p:spPr bwMode="auto">
          <a:xfrm>
            <a:off x="801067" y="3871566"/>
            <a:ext cx="2608846" cy="219710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379BDC6-0334-710E-A616-D3ED3BA1F722}"/>
              </a:ext>
            </a:extLst>
          </p:cNvPr>
          <p:cNvSpPr txBox="1"/>
          <p:nvPr/>
        </p:nvSpPr>
        <p:spPr>
          <a:xfrm>
            <a:off x="4110185" y="5749354"/>
            <a:ext cx="1386509" cy="369332"/>
          </a:xfrm>
          <a:prstGeom prst="rect">
            <a:avLst/>
          </a:prstGeom>
          <a:noFill/>
        </p:spPr>
        <p:txBody>
          <a:bodyPr wrap="square">
            <a:spAutoFit/>
          </a:bodyPr>
          <a:lstStyle/>
          <a:p>
            <a:r>
              <a:rPr lang="en-IE" dirty="0">
                <a:solidFill>
                  <a:schemeClr val="bg1"/>
                </a:solidFill>
              </a:rPr>
              <a:t>The Sentinel</a:t>
            </a:r>
          </a:p>
        </p:txBody>
      </p:sp>
    </p:spTree>
    <p:extLst>
      <p:ext uri="{BB962C8B-B14F-4D97-AF65-F5344CB8AC3E}">
        <p14:creationId xmlns:p14="http://schemas.microsoft.com/office/powerpoint/2010/main" val="191264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AA2C083-4766-23BF-8E69-D0BBA77B0055}"/>
              </a:ext>
            </a:extLst>
          </p:cNvPr>
          <p:cNvPicPr>
            <a:picLocks noChangeAspect="1"/>
          </p:cNvPicPr>
          <p:nvPr/>
        </p:nvPicPr>
        <p:blipFill>
          <a:blip r:embed="rId2"/>
          <a:stretch>
            <a:fillRect/>
          </a:stretch>
        </p:blipFill>
        <p:spPr>
          <a:xfrm>
            <a:off x="609893" y="5231303"/>
            <a:ext cx="4686135" cy="568745"/>
          </a:xfrm>
          <a:prstGeom prst="rect">
            <a:avLst/>
          </a:prstGeom>
        </p:spPr>
      </p:pic>
      <p:pic>
        <p:nvPicPr>
          <p:cNvPr id="13" name="Picture 12">
            <a:extLst>
              <a:ext uri="{FF2B5EF4-FFF2-40B4-BE49-F238E27FC236}">
                <a16:creationId xmlns:a16="http://schemas.microsoft.com/office/drawing/2014/main" id="{9AC2A6E6-910D-FFE6-FC7B-270F884AB6EA}"/>
              </a:ext>
            </a:extLst>
          </p:cNvPr>
          <p:cNvPicPr>
            <a:picLocks noChangeAspect="1"/>
          </p:cNvPicPr>
          <p:nvPr/>
        </p:nvPicPr>
        <p:blipFill>
          <a:blip r:embed="rId3"/>
          <a:stretch>
            <a:fillRect/>
          </a:stretch>
        </p:blipFill>
        <p:spPr>
          <a:xfrm>
            <a:off x="609893" y="1494578"/>
            <a:ext cx="6639046" cy="3639635"/>
          </a:xfrm>
          <a:prstGeom prst="rect">
            <a:avLst/>
          </a:prstGeom>
        </p:spPr>
      </p:pic>
      <p:sp>
        <p:nvSpPr>
          <p:cNvPr id="16" name="Title 15">
            <a:extLst>
              <a:ext uri="{FF2B5EF4-FFF2-40B4-BE49-F238E27FC236}">
                <a16:creationId xmlns:a16="http://schemas.microsoft.com/office/drawing/2014/main" id="{52A15C59-7C4E-A06A-9872-CBE88DA40EEC}"/>
              </a:ext>
            </a:extLst>
          </p:cNvPr>
          <p:cNvSpPr>
            <a:spLocks noGrp="1"/>
          </p:cNvSpPr>
          <p:nvPr>
            <p:ph type="title"/>
          </p:nvPr>
        </p:nvSpPr>
        <p:spPr>
          <a:xfrm>
            <a:off x="609893" y="364973"/>
            <a:ext cx="8481099" cy="867930"/>
          </a:xfrm>
        </p:spPr>
        <p:txBody>
          <a:bodyPr/>
          <a:lstStyle/>
          <a:p>
            <a:r>
              <a:rPr lang="en-IE" sz="2800" dirty="0"/>
              <a:t>Are we experiencing a </a:t>
            </a:r>
            <a:br>
              <a:rPr lang="en-IE" sz="2800" dirty="0"/>
            </a:br>
            <a:r>
              <a:rPr lang="en-IE" sz="2800" dirty="0"/>
              <a:t>“monkey with a hand grenade” moment? </a:t>
            </a:r>
          </a:p>
        </p:txBody>
      </p:sp>
      <p:pic>
        <p:nvPicPr>
          <p:cNvPr id="19" name="Picture 18">
            <a:extLst>
              <a:ext uri="{FF2B5EF4-FFF2-40B4-BE49-F238E27FC236}">
                <a16:creationId xmlns:a16="http://schemas.microsoft.com/office/drawing/2014/main" id="{421A0B15-D5D8-7F47-A26E-AAB0CF323216}"/>
              </a:ext>
            </a:extLst>
          </p:cNvPr>
          <p:cNvPicPr>
            <a:picLocks noChangeAspect="1"/>
          </p:cNvPicPr>
          <p:nvPr/>
        </p:nvPicPr>
        <p:blipFill>
          <a:blip r:embed="rId4">
            <a:alphaModFix amt="50000"/>
          </a:blip>
          <a:stretch>
            <a:fillRect/>
          </a:stretch>
        </p:blipFill>
        <p:spPr>
          <a:xfrm>
            <a:off x="8499423" y="0"/>
            <a:ext cx="5161022" cy="6199471"/>
          </a:xfrm>
          <a:prstGeom prst="rect">
            <a:avLst/>
          </a:prstGeom>
        </p:spPr>
      </p:pic>
      <p:sp>
        <p:nvSpPr>
          <p:cNvPr id="20" name="TextBox 19">
            <a:extLst>
              <a:ext uri="{FF2B5EF4-FFF2-40B4-BE49-F238E27FC236}">
                <a16:creationId xmlns:a16="http://schemas.microsoft.com/office/drawing/2014/main" id="{BAAEB762-C61F-AC55-9771-7EC755F04C80}"/>
              </a:ext>
            </a:extLst>
          </p:cNvPr>
          <p:cNvSpPr txBox="1"/>
          <p:nvPr/>
        </p:nvSpPr>
        <p:spPr>
          <a:xfrm>
            <a:off x="8666686" y="5937861"/>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spTree>
    <p:extLst>
      <p:ext uri="{BB962C8B-B14F-4D97-AF65-F5344CB8AC3E}">
        <p14:creationId xmlns:p14="http://schemas.microsoft.com/office/powerpoint/2010/main" val="2327505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276786-6F45-8DA0-E57C-AE0406ED4967}"/>
              </a:ext>
            </a:extLst>
          </p:cNvPr>
          <p:cNvSpPr>
            <a:spLocks noGrp="1"/>
          </p:cNvSpPr>
          <p:nvPr>
            <p:ph type="title"/>
          </p:nvPr>
        </p:nvSpPr>
        <p:spPr/>
        <p:txBody>
          <a:bodyPr/>
          <a:lstStyle/>
          <a:p>
            <a:r>
              <a:rPr lang="en-IE" dirty="0"/>
              <a:t>What could go wrong with the application of (GEN)AI?</a:t>
            </a:r>
          </a:p>
        </p:txBody>
      </p:sp>
      <p:pic>
        <p:nvPicPr>
          <p:cNvPr id="4" name="Picture 3">
            <a:extLst>
              <a:ext uri="{FF2B5EF4-FFF2-40B4-BE49-F238E27FC236}">
                <a16:creationId xmlns:a16="http://schemas.microsoft.com/office/drawing/2014/main" id="{14A6F743-6426-F6B5-3BF7-5C51800EDF5D}"/>
              </a:ext>
            </a:extLst>
          </p:cNvPr>
          <p:cNvPicPr>
            <a:picLocks noChangeAspect="1"/>
          </p:cNvPicPr>
          <p:nvPr/>
        </p:nvPicPr>
        <p:blipFill>
          <a:blip r:embed="rId2"/>
          <a:stretch>
            <a:fillRect/>
          </a:stretch>
        </p:blipFill>
        <p:spPr>
          <a:xfrm>
            <a:off x="1071852" y="2110902"/>
            <a:ext cx="4268761" cy="2344201"/>
          </a:xfrm>
          <a:prstGeom prst="rect">
            <a:avLst/>
          </a:prstGeom>
        </p:spPr>
      </p:pic>
      <p:sp>
        <p:nvSpPr>
          <p:cNvPr id="5" name="TextBox 4">
            <a:extLst>
              <a:ext uri="{FF2B5EF4-FFF2-40B4-BE49-F238E27FC236}">
                <a16:creationId xmlns:a16="http://schemas.microsoft.com/office/drawing/2014/main" id="{11836B3D-2E64-E041-59B7-88050F77CA83}"/>
              </a:ext>
            </a:extLst>
          </p:cNvPr>
          <p:cNvSpPr txBox="1"/>
          <p:nvPr/>
        </p:nvSpPr>
        <p:spPr>
          <a:xfrm>
            <a:off x="1071852" y="4514357"/>
            <a:ext cx="4268761" cy="646331"/>
          </a:xfrm>
          <a:prstGeom prst="rect">
            <a:avLst/>
          </a:prstGeom>
          <a:noFill/>
        </p:spPr>
        <p:txBody>
          <a:bodyPr wrap="square">
            <a:spAutoFit/>
          </a:bodyPr>
          <a:lstStyle/>
          <a:p>
            <a:r>
              <a:rPr lang="en-IE" sz="1200" dirty="0">
                <a:solidFill>
                  <a:schemeClr val="bg1"/>
                </a:solidFill>
              </a:rPr>
              <a:t>© OECD 2022</a:t>
            </a:r>
          </a:p>
          <a:p>
            <a:r>
              <a:rPr lang="en-IE" sz="1200" dirty="0">
                <a:solidFill>
                  <a:schemeClr val="bg1"/>
                </a:solidFill>
              </a:rPr>
              <a:t>Key high-level dimensions of the OECD Framework for the Classification of AI Systems</a:t>
            </a:r>
          </a:p>
        </p:txBody>
      </p:sp>
      <p:pic>
        <p:nvPicPr>
          <p:cNvPr id="8" name="Picture 7">
            <a:extLst>
              <a:ext uri="{FF2B5EF4-FFF2-40B4-BE49-F238E27FC236}">
                <a16:creationId xmlns:a16="http://schemas.microsoft.com/office/drawing/2014/main" id="{102A3E20-40CB-8567-2839-5AAB2BF216A2}"/>
              </a:ext>
            </a:extLst>
          </p:cNvPr>
          <p:cNvPicPr>
            <a:picLocks noChangeAspect="1"/>
          </p:cNvPicPr>
          <p:nvPr/>
        </p:nvPicPr>
        <p:blipFill>
          <a:blip r:embed="rId3"/>
          <a:stretch>
            <a:fillRect/>
          </a:stretch>
        </p:blipFill>
        <p:spPr>
          <a:xfrm>
            <a:off x="5883965" y="2110902"/>
            <a:ext cx="5834269" cy="2403455"/>
          </a:xfrm>
          <a:prstGeom prst="rect">
            <a:avLst/>
          </a:prstGeom>
        </p:spPr>
      </p:pic>
      <p:sp>
        <p:nvSpPr>
          <p:cNvPr id="10" name="TextBox 9">
            <a:extLst>
              <a:ext uri="{FF2B5EF4-FFF2-40B4-BE49-F238E27FC236}">
                <a16:creationId xmlns:a16="http://schemas.microsoft.com/office/drawing/2014/main" id="{4E0352CE-FC5A-7E2C-B9F9-D141FB3606FA}"/>
              </a:ext>
            </a:extLst>
          </p:cNvPr>
          <p:cNvSpPr txBox="1"/>
          <p:nvPr/>
        </p:nvSpPr>
        <p:spPr>
          <a:xfrm>
            <a:off x="6513443" y="4514357"/>
            <a:ext cx="5204791" cy="276999"/>
          </a:xfrm>
          <a:prstGeom prst="rect">
            <a:avLst/>
          </a:prstGeom>
          <a:noFill/>
        </p:spPr>
        <p:txBody>
          <a:bodyPr wrap="square">
            <a:spAutoFit/>
          </a:bodyPr>
          <a:lstStyle>
            <a:defPPr>
              <a:defRPr lang="en-BE"/>
            </a:defPPr>
            <a:lvl1pPr>
              <a:defRPr sz="1200">
                <a:solidFill>
                  <a:schemeClr val="bg1"/>
                </a:solidFill>
              </a:defRPr>
            </a:lvl1pPr>
          </a:lstStyle>
          <a:p>
            <a:pPr algn="r"/>
            <a:r>
              <a:rPr lang="en-IE" dirty="0"/>
              <a:t>NIST AI 100-1 </a:t>
            </a:r>
          </a:p>
        </p:txBody>
      </p:sp>
    </p:spTree>
    <p:extLst>
      <p:ext uri="{BB962C8B-B14F-4D97-AF65-F5344CB8AC3E}">
        <p14:creationId xmlns:p14="http://schemas.microsoft.com/office/powerpoint/2010/main" val="34860054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276786-6F45-8DA0-E57C-AE0406ED4967}"/>
              </a:ext>
            </a:extLst>
          </p:cNvPr>
          <p:cNvSpPr>
            <a:spLocks noGrp="1"/>
          </p:cNvSpPr>
          <p:nvPr>
            <p:ph type="title"/>
          </p:nvPr>
        </p:nvSpPr>
        <p:spPr/>
        <p:txBody>
          <a:bodyPr/>
          <a:lstStyle/>
          <a:p>
            <a:r>
              <a:rPr lang="en-GB" dirty="0"/>
              <a:t>The evolving landscape of regulations and standards shaping ethical data use.</a:t>
            </a:r>
          </a:p>
        </p:txBody>
      </p:sp>
      <p:pic>
        <p:nvPicPr>
          <p:cNvPr id="7" name="Picture 6" descr="Some thoughts on the US' Executive Order on the Safe, Secure, and Trustworthy  Development and Use of AI — How to Crack a Nut">
            <a:extLst>
              <a:ext uri="{FF2B5EF4-FFF2-40B4-BE49-F238E27FC236}">
                <a16:creationId xmlns:a16="http://schemas.microsoft.com/office/drawing/2014/main" id="{E2BFA1F6-230B-45A5-F66F-07DE4A142D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00513" y="1514372"/>
            <a:ext cx="2730930" cy="1417983"/>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509F671A-FBCC-1B62-9A1B-0DA3BF554911}"/>
              </a:ext>
            </a:extLst>
          </p:cNvPr>
          <p:cNvGrpSpPr/>
          <p:nvPr/>
        </p:nvGrpSpPr>
        <p:grpSpPr>
          <a:xfrm>
            <a:off x="789245" y="3220712"/>
            <a:ext cx="1673895" cy="2784573"/>
            <a:chOff x="728962" y="2223363"/>
            <a:chExt cx="1673895" cy="2784573"/>
          </a:xfrm>
        </p:grpSpPr>
        <p:pic>
          <p:nvPicPr>
            <p:cNvPr id="14" name="Picture 13">
              <a:extLst>
                <a:ext uri="{FF2B5EF4-FFF2-40B4-BE49-F238E27FC236}">
                  <a16:creationId xmlns:a16="http://schemas.microsoft.com/office/drawing/2014/main" id="{CAC2EEF0-259B-6051-5641-5E812190FBAA}"/>
                </a:ext>
              </a:extLst>
            </p:cNvPr>
            <p:cNvPicPr>
              <a:picLocks noChangeAspect="1"/>
            </p:cNvPicPr>
            <p:nvPr/>
          </p:nvPicPr>
          <p:blipFill>
            <a:blip r:embed="rId4"/>
            <a:stretch>
              <a:fillRect/>
            </a:stretch>
          </p:blipFill>
          <p:spPr>
            <a:xfrm>
              <a:off x="728962" y="3415876"/>
              <a:ext cx="1673895" cy="1592060"/>
            </a:xfrm>
            <a:prstGeom prst="rect">
              <a:avLst/>
            </a:prstGeom>
          </p:spPr>
        </p:pic>
        <p:pic>
          <p:nvPicPr>
            <p:cNvPr id="15" name="Picture 14">
              <a:extLst>
                <a:ext uri="{FF2B5EF4-FFF2-40B4-BE49-F238E27FC236}">
                  <a16:creationId xmlns:a16="http://schemas.microsoft.com/office/drawing/2014/main" id="{6802CC65-1649-64FE-DA9A-A9491C8EBAB7}"/>
                </a:ext>
              </a:extLst>
            </p:cNvPr>
            <p:cNvPicPr>
              <a:picLocks noChangeAspect="1"/>
            </p:cNvPicPr>
            <p:nvPr/>
          </p:nvPicPr>
          <p:blipFill>
            <a:blip r:embed="rId5"/>
            <a:stretch>
              <a:fillRect/>
            </a:stretch>
          </p:blipFill>
          <p:spPr>
            <a:xfrm>
              <a:off x="794044" y="2223363"/>
              <a:ext cx="1570891" cy="1229649"/>
            </a:xfrm>
            <a:prstGeom prst="rect">
              <a:avLst/>
            </a:prstGeom>
            <a:solidFill>
              <a:schemeClr val="tx1"/>
            </a:solidFill>
          </p:spPr>
        </p:pic>
      </p:grpSp>
      <p:grpSp>
        <p:nvGrpSpPr>
          <p:cNvPr id="16" name="Group 15">
            <a:extLst>
              <a:ext uri="{FF2B5EF4-FFF2-40B4-BE49-F238E27FC236}">
                <a16:creationId xmlns:a16="http://schemas.microsoft.com/office/drawing/2014/main" id="{F9CCAB65-F631-6991-6C30-D1B2251BAF83}"/>
              </a:ext>
            </a:extLst>
          </p:cNvPr>
          <p:cNvGrpSpPr/>
          <p:nvPr/>
        </p:nvGrpSpPr>
        <p:grpSpPr>
          <a:xfrm>
            <a:off x="2688343" y="2799580"/>
            <a:ext cx="2565900" cy="812818"/>
            <a:chOff x="5693197" y="4419637"/>
            <a:chExt cx="2565900" cy="812818"/>
          </a:xfrm>
        </p:grpSpPr>
        <p:pic>
          <p:nvPicPr>
            <p:cNvPr id="17" name="Picture 16">
              <a:extLst>
                <a:ext uri="{FF2B5EF4-FFF2-40B4-BE49-F238E27FC236}">
                  <a16:creationId xmlns:a16="http://schemas.microsoft.com/office/drawing/2014/main" id="{6082B44E-C8C2-500F-7527-F1958FFC7B12}"/>
                </a:ext>
              </a:extLst>
            </p:cNvPr>
            <p:cNvPicPr>
              <a:picLocks noChangeAspect="1"/>
            </p:cNvPicPr>
            <p:nvPr/>
          </p:nvPicPr>
          <p:blipFill>
            <a:blip r:embed="rId6"/>
            <a:stretch>
              <a:fillRect/>
            </a:stretch>
          </p:blipFill>
          <p:spPr>
            <a:xfrm>
              <a:off x="5693197" y="4817617"/>
              <a:ext cx="2502857" cy="414838"/>
            </a:xfrm>
            <a:prstGeom prst="rect">
              <a:avLst/>
            </a:prstGeom>
          </p:spPr>
        </p:pic>
        <p:pic>
          <p:nvPicPr>
            <p:cNvPr id="18" name="Picture 17">
              <a:extLst>
                <a:ext uri="{FF2B5EF4-FFF2-40B4-BE49-F238E27FC236}">
                  <a16:creationId xmlns:a16="http://schemas.microsoft.com/office/drawing/2014/main" id="{30C663DE-45E3-5D20-2A39-97BF1F941365}"/>
                </a:ext>
              </a:extLst>
            </p:cNvPr>
            <p:cNvPicPr>
              <a:picLocks noChangeAspect="1"/>
            </p:cNvPicPr>
            <p:nvPr/>
          </p:nvPicPr>
          <p:blipFill>
            <a:blip r:embed="rId7"/>
            <a:stretch>
              <a:fillRect/>
            </a:stretch>
          </p:blipFill>
          <p:spPr>
            <a:xfrm>
              <a:off x="5756240" y="4419637"/>
              <a:ext cx="2502857" cy="397980"/>
            </a:xfrm>
            <a:prstGeom prst="rect">
              <a:avLst/>
            </a:prstGeom>
          </p:spPr>
        </p:pic>
      </p:grpSp>
      <p:pic>
        <p:nvPicPr>
          <p:cNvPr id="19" name="Picture 18">
            <a:extLst>
              <a:ext uri="{FF2B5EF4-FFF2-40B4-BE49-F238E27FC236}">
                <a16:creationId xmlns:a16="http://schemas.microsoft.com/office/drawing/2014/main" id="{2DC6AFF8-EA9D-15ED-7C0E-0FCBA36698B7}"/>
              </a:ext>
            </a:extLst>
          </p:cNvPr>
          <p:cNvPicPr>
            <a:picLocks noChangeAspect="1"/>
          </p:cNvPicPr>
          <p:nvPr/>
        </p:nvPicPr>
        <p:blipFill>
          <a:blip r:embed="rId8"/>
          <a:stretch>
            <a:fillRect/>
          </a:stretch>
        </p:blipFill>
        <p:spPr>
          <a:xfrm>
            <a:off x="3147237" y="3835545"/>
            <a:ext cx="1758477" cy="1554909"/>
          </a:xfrm>
          <a:prstGeom prst="rect">
            <a:avLst/>
          </a:prstGeom>
        </p:spPr>
      </p:pic>
      <p:pic>
        <p:nvPicPr>
          <p:cNvPr id="22" name="Picture 21">
            <a:extLst>
              <a:ext uri="{FF2B5EF4-FFF2-40B4-BE49-F238E27FC236}">
                <a16:creationId xmlns:a16="http://schemas.microsoft.com/office/drawing/2014/main" id="{AB965008-373A-392F-7974-3F3C7F140E68}"/>
              </a:ext>
            </a:extLst>
          </p:cNvPr>
          <p:cNvPicPr>
            <a:picLocks noChangeAspect="1"/>
          </p:cNvPicPr>
          <p:nvPr/>
        </p:nvPicPr>
        <p:blipFill>
          <a:blip r:embed="rId9"/>
          <a:stretch>
            <a:fillRect/>
          </a:stretch>
        </p:blipFill>
        <p:spPr>
          <a:xfrm>
            <a:off x="9769962" y="3955449"/>
            <a:ext cx="1276568" cy="550066"/>
          </a:xfrm>
          <a:prstGeom prst="rect">
            <a:avLst/>
          </a:prstGeom>
        </p:spPr>
      </p:pic>
      <p:graphicFrame>
        <p:nvGraphicFramePr>
          <p:cNvPr id="24" name="Diagram 23">
            <a:extLst>
              <a:ext uri="{FF2B5EF4-FFF2-40B4-BE49-F238E27FC236}">
                <a16:creationId xmlns:a16="http://schemas.microsoft.com/office/drawing/2014/main" id="{D440F7A9-F3BD-0678-B532-A0207021A2AF}"/>
              </a:ext>
            </a:extLst>
          </p:cNvPr>
          <p:cNvGraphicFramePr/>
          <p:nvPr>
            <p:extLst>
              <p:ext uri="{D42A27DB-BD31-4B8C-83A1-F6EECF244321}">
                <p14:modId xmlns:p14="http://schemas.microsoft.com/office/powerpoint/2010/main" val="1298893435"/>
              </p:ext>
            </p:extLst>
          </p:nvPr>
        </p:nvGraphicFramePr>
        <p:xfrm>
          <a:off x="4968757" y="879389"/>
          <a:ext cx="4056825" cy="541866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26" name="Picture 25">
            <a:extLst>
              <a:ext uri="{FF2B5EF4-FFF2-40B4-BE49-F238E27FC236}">
                <a16:creationId xmlns:a16="http://schemas.microsoft.com/office/drawing/2014/main" id="{4CFF9916-07A8-BCAF-0793-BFEC72CDB6BF}"/>
              </a:ext>
            </a:extLst>
          </p:cNvPr>
          <p:cNvPicPr>
            <a:picLocks noChangeAspect="1"/>
          </p:cNvPicPr>
          <p:nvPr/>
        </p:nvPicPr>
        <p:blipFill>
          <a:blip r:embed="rId15"/>
          <a:stretch>
            <a:fillRect/>
          </a:stretch>
        </p:blipFill>
        <p:spPr>
          <a:xfrm>
            <a:off x="4500597" y="1347616"/>
            <a:ext cx="1570891" cy="834356"/>
          </a:xfrm>
          <a:prstGeom prst="rect">
            <a:avLst/>
          </a:prstGeom>
        </p:spPr>
      </p:pic>
      <p:pic>
        <p:nvPicPr>
          <p:cNvPr id="8" name="Picture 7">
            <a:extLst>
              <a:ext uri="{FF2B5EF4-FFF2-40B4-BE49-F238E27FC236}">
                <a16:creationId xmlns:a16="http://schemas.microsoft.com/office/drawing/2014/main" id="{95CFB005-B345-93B1-D084-7925FB3BB46B}"/>
              </a:ext>
            </a:extLst>
          </p:cNvPr>
          <p:cNvPicPr>
            <a:picLocks noChangeAspect="1"/>
          </p:cNvPicPr>
          <p:nvPr/>
        </p:nvPicPr>
        <p:blipFill>
          <a:blip r:embed="rId16"/>
          <a:stretch>
            <a:fillRect/>
          </a:stretch>
        </p:blipFill>
        <p:spPr>
          <a:xfrm>
            <a:off x="819461" y="1346784"/>
            <a:ext cx="3436872" cy="1229650"/>
          </a:xfrm>
          <a:prstGeom prst="rect">
            <a:avLst/>
          </a:prstGeom>
        </p:spPr>
      </p:pic>
      <p:sp>
        <p:nvSpPr>
          <p:cNvPr id="10" name="TextBox 9">
            <a:extLst>
              <a:ext uri="{FF2B5EF4-FFF2-40B4-BE49-F238E27FC236}">
                <a16:creationId xmlns:a16="http://schemas.microsoft.com/office/drawing/2014/main" id="{18CC95E1-8D50-6698-FFBD-7E0D1FC6C03F}"/>
              </a:ext>
            </a:extLst>
          </p:cNvPr>
          <p:cNvSpPr txBox="1"/>
          <p:nvPr/>
        </p:nvSpPr>
        <p:spPr>
          <a:xfrm>
            <a:off x="3187815" y="2251229"/>
            <a:ext cx="1344514" cy="307777"/>
          </a:xfrm>
          <a:prstGeom prst="rect">
            <a:avLst/>
          </a:prstGeom>
          <a:noFill/>
        </p:spPr>
        <p:txBody>
          <a:bodyPr wrap="square">
            <a:spAutoFit/>
          </a:bodyPr>
          <a:lstStyle/>
          <a:p>
            <a:pPr algn="l"/>
            <a:r>
              <a:rPr lang="en-GB" sz="1400" b="1" i="0" u="none" strike="noStrike" cap="all" dirty="0">
                <a:solidFill>
                  <a:srgbClr val="4D4D4D"/>
                </a:solidFill>
                <a:effectLst/>
                <a:highlight>
                  <a:srgbClr val="FFFFFF"/>
                </a:highlight>
                <a:latin typeface="Roboto Condensed" panose="02000000000000000000" pitchFamily="2" charset="0"/>
              </a:rPr>
              <a:t>A/78/L.49</a:t>
            </a:r>
          </a:p>
        </p:txBody>
      </p:sp>
    </p:spTree>
    <p:extLst>
      <p:ext uri="{BB962C8B-B14F-4D97-AF65-F5344CB8AC3E}">
        <p14:creationId xmlns:p14="http://schemas.microsoft.com/office/powerpoint/2010/main" val="11257300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052B956-3A7A-D32D-925F-5C3ABFEA5E65}"/>
              </a:ext>
            </a:extLst>
          </p:cNvPr>
          <p:cNvPicPr>
            <a:picLocks noChangeAspect="1"/>
          </p:cNvPicPr>
          <p:nvPr/>
        </p:nvPicPr>
        <p:blipFill rotWithShape="1">
          <a:blip r:embed="rId3">
            <a:alphaModFix amt="50000"/>
          </a:blip>
          <a:srcRect l="19877"/>
          <a:stretch/>
        </p:blipFill>
        <p:spPr>
          <a:xfrm flipH="1">
            <a:off x="8649324" y="0"/>
            <a:ext cx="3553017" cy="5998139"/>
          </a:xfrm>
          <a:prstGeom prst="rect">
            <a:avLst/>
          </a:prstGeom>
        </p:spPr>
      </p:pic>
      <p:sp>
        <p:nvSpPr>
          <p:cNvPr id="3" name="Content Placeholder 2">
            <a:extLst>
              <a:ext uri="{FF2B5EF4-FFF2-40B4-BE49-F238E27FC236}">
                <a16:creationId xmlns:a16="http://schemas.microsoft.com/office/drawing/2014/main" id="{36827FF0-C6F2-814F-07A2-D8DD589EEC51}"/>
              </a:ext>
            </a:extLst>
          </p:cNvPr>
          <p:cNvSpPr>
            <a:spLocks noGrp="1"/>
          </p:cNvSpPr>
          <p:nvPr>
            <p:ph idx="1"/>
          </p:nvPr>
        </p:nvSpPr>
        <p:spPr>
          <a:xfrm>
            <a:off x="776206" y="1734065"/>
            <a:ext cx="10915185" cy="3900042"/>
          </a:xfrm>
        </p:spPr>
        <p:txBody>
          <a:bodyPr/>
          <a:lstStyle/>
          <a:p>
            <a:r>
              <a:rPr lang="en-IE" sz="2800" dirty="0"/>
              <a:t>Principles:</a:t>
            </a:r>
          </a:p>
          <a:p>
            <a:pPr lvl="1"/>
            <a:r>
              <a:rPr lang="en-IE" sz="2000" dirty="0"/>
              <a:t>Safety, security, and </a:t>
            </a:r>
            <a:r>
              <a:rPr lang="en-IE" sz="2000" dirty="0">
                <a:solidFill>
                  <a:schemeClr val="accent4"/>
                </a:solidFill>
              </a:rPr>
              <a:t>trustworthiness</a:t>
            </a:r>
            <a:r>
              <a:rPr lang="en-IE" sz="2000" dirty="0"/>
              <a:t> in AI development and use</a:t>
            </a:r>
          </a:p>
          <a:p>
            <a:pPr lvl="1"/>
            <a:r>
              <a:rPr lang="en-IE" sz="2000" dirty="0"/>
              <a:t>Economic growth, national security, and global competitiveness</a:t>
            </a:r>
          </a:p>
          <a:p>
            <a:r>
              <a:rPr lang="en-IE" sz="2800" dirty="0"/>
              <a:t>Key actions</a:t>
            </a:r>
          </a:p>
          <a:p>
            <a:pPr lvl="1"/>
            <a:r>
              <a:rPr lang="en-IE" sz="2000" dirty="0"/>
              <a:t>Promoting research and development in AI</a:t>
            </a:r>
          </a:p>
          <a:p>
            <a:pPr lvl="1"/>
            <a:r>
              <a:rPr lang="en-IE" sz="2000" dirty="0"/>
              <a:t>Enhancing </a:t>
            </a:r>
            <a:r>
              <a:rPr lang="en-IE" sz="2000" dirty="0">
                <a:solidFill>
                  <a:schemeClr val="accent4"/>
                </a:solidFill>
              </a:rPr>
              <a:t>access to data </a:t>
            </a:r>
            <a:r>
              <a:rPr lang="en-IE" sz="2000" dirty="0"/>
              <a:t>and computing resources for AI development</a:t>
            </a:r>
          </a:p>
          <a:p>
            <a:pPr lvl="1"/>
            <a:r>
              <a:rPr lang="en-IE" sz="2000" dirty="0"/>
              <a:t>Fostering public </a:t>
            </a:r>
            <a:r>
              <a:rPr lang="en-IE" sz="2000" dirty="0">
                <a:solidFill>
                  <a:schemeClr val="accent4"/>
                </a:solidFill>
              </a:rPr>
              <a:t>trust in AI and ensuring ethical and legal use</a:t>
            </a:r>
          </a:p>
          <a:p>
            <a:pPr lvl="1"/>
            <a:r>
              <a:rPr lang="en-IE" sz="2000" dirty="0"/>
              <a:t>Establishing </a:t>
            </a:r>
            <a:r>
              <a:rPr lang="en-IE" sz="2000" dirty="0">
                <a:solidFill>
                  <a:schemeClr val="accent4"/>
                </a:solidFill>
              </a:rPr>
              <a:t>guidelines for AI use </a:t>
            </a:r>
            <a:r>
              <a:rPr lang="en-IE" sz="2000" dirty="0"/>
              <a:t>in collaboration with stakeholders</a:t>
            </a:r>
          </a:p>
          <a:p>
            <a:pPr lvl="1"/>
            <a:r>
              <a:rPr lang="en-IE" sz="2000" dirty="0"/>
              <a:t>Encouraging </a:t>
            </a:r>
            <a:r>
              <a:rPr lang="en-IE" sz="2000" dirty="0">
                <a:solidFill>
                  <a:schemeClr val="accent4"/>
                </a:solidFill>
              </a:rPr>
              <a:t>international cooperation </a:t>
            </a:r>
            <a:r>
              <a:rPr lang="en-IE" sz="2000" dirty="0"/>
              <a:t>in AI development</a:t>
            </a:r>
          </a:p>
          <a:p>
            <a:endParaRPr lang="en-IE" sz="2800" dirty="0"/>
          </a:p>
        </p:txBody>
      </p:sp>
      <p:sp>
        <p:nvSpPr>
          <p:cNvPr id="10" name="Title 9">
            <a:extLst>
              <a:ext uri="{FF2B5EF4-FFF2-40B4-BE49-F238E27FC236}">
                <a16:creationId xmlns:a16="http://schemas.microsoft.com/office/drawing/2014/main" id="{7F6A65F7-B373-A82C-8652-829E37FE6A3E}"/>
              </a:ext>
            </a:extLst>
          </p:cNvPr>
          <p:cNvSpPr>
            <a:spLocks noGrp="1"/>
          </p:cNvSpPr>
          <p:nvPr>
            <p:ph type="title"/>
          </p:nvPr>
        </p:nvSpPr>
        <p:spPr>
          <a:xfrm>
            <a:off x="776206" y="365125"/>
            <a:ext cx="11415794" cy="535531"/>
          </a:xfrm>
        </p:spPr>
        <p:txBody>
          <a:bodyPr/>
          <a:lstStyle/>
          <a:p>
            <a:r>
              <a:rPr lang="en-IE" sz="3200" dirty="0"/>
              <a:t>Establishing the US approach </a:t>
            </a:r>
            <a:br>
              <a:rPr lang="en-IE" sz="3200" dirty="0"/>
            </a:br>
            <a:r>
              <a:rPr lang="en-IE" sz="3200" dirty="0"/>
              <a:t>to AI development and use</a:t>
            </a:r>
            <a:endParaRPr lang="en-IE" dirty="0"/>
          </a:p>
        </p:txBody>
      </p:sp>
      <p:pic>
        <p:nvPicPr>
          <p:cNvPr id="9222" name="Picture 6" descr="Some thoughts on the US' Executive Order on the Safe, Secure, and Trustworthy  Development and Use of AI — How to Crack a Nut">
            <a:extLst>
              <a:ext uri="{FF2B5EF4-FFF2-40B4-BE49-F238E27FC236}">
                <a16:creationId xmlns:a16="http://schemas.microsoft.com/office/drawing/2014/main" id="{3261EF78-2B2F-E64E-7978-E1203869D88C}"/>
              </a:ext>
            </a:extLst>
          </p:cNvPr>
          <p:cNvPicPr>
            <a:picLocks noChangeAspect="1" noChangeArrowheads="1"/>
          </p:cNvPicPr>
          <p:nvPr/>
        </p:nvPicPr>
        <p:blipFill>
          <a:blip r:embed="rId4">
            <a:alphaModFix amt="70000"/>
            <a:extLst>
              <a:ext uri="{28A0092B-C50C-407E-A947-70E740481C1C}">
                <a14:useLocalDpi xmlns:a14="http://schemas.microsoft.com/office/drawing/2010/main" val="0"/>
              </a:ext>
            </a:extLst>
          </a:blip>
          <a:srcRect/>
          <a:stretch>
            <a:fillRect/>
          </a:stretch>
        </p:blipFill>
        <p:spPr bwMode="auto">
          <a:xfrm>
            <a:off x="8649324" y="0"/>
            <a:ext cx="3553017" cy="184483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57043D7-D40A-B856-3D1E-7765572F61DB}"/>
              </a:ext>
            </a:extLst>
          </p:cNvPr>
          <p:cNvSpPr txBox="1"/>
          <p:nvPr/>
        </p:nvSpPr>
        <p:spPr>
          <a:xfrm>
            <a:off x="8764319" y="6025208"/>
            <a:ext cx="3323026" cy="261610"/>
          </a:xfrm>
          <a:prstGeom prst="rect">
            <a:avLst/>
          </a:prstGeom>
          <a:noFill/>
        </p:spPr>
        <p:txBody>
          <a:bodyPr wrap="square">
            <a:spAutoFit/>
          </a:bodyPr>
          <a:lstStyle/>
          <a:p>
            <a:r>
              <a:rPr lang="en-GB" sz="1100" b="0" i="0" dirty="0">
                <a:solidFill>
                  <a:schemeClr val="bg1"/>
                </a:solidFill>
                <a:effectLst/>
                <a:latin typeface="Roboto" panose="02000000000000000000" pitchFamily="2" charset="0"/>
              </a:rPr>
              <a:t>Powered by DALL·E 3</a:t>
            </a:r>
            <a:endParaRPr lang="en-IE" sz="1100" dirty="0">
              <a:solidFill>
                <a:schemeClr val="bg1"/>
              </a:solidFill>
            </a:endParaRPr>
          </a:p>
        </p:txBody>
      </p:sp>
    </p:spTree>
    <p:extLst>
      <p:ext uri="{BB962C8B-B14F-4D97-AF65-F5344CB8AC3E}">
        <p14:creationId xmlns:p14="http://schemas.microsoft.com/office/powerpoint/2010/main" val="19048422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A87313-80C5-F856-7B78-46C0B5FD06E2}"/>
              </a:ext>
            </a:extLst>
          </p:cNvPr>
          <p:cNvPicPr>
            <a:picLocks noChangeAspect="1"/>
          </p:cNvPicPr>
          <p:nvPr/>
        </p:nvPicPr>
        <p:blipFill rotWithShape="1">
          <a:blip r:embed="rId3">
            <a:alphaModFix amt="10000"/>
          </a:blip>
          <a:srcRect l="19877"/>
          <a:stretch/>
        </p:blipFill>
        <p:spPr>
          <a:xfrm flipH="1">
            <a:off x="8649322" y="-11244"/>
            <a:ext cx="3553017" cy="5998139"/>
          </a:xfrm>
          <a:prstGeom prst="rect">
            <a:avLst/>
          </a:prstGeom>
        </p:spPr>
      </p:pic>
      <p:sp>
        <p:nvSpPr>
          <p:cNvPr id="12" name="TextBox 11">
            <a:extLst>
              <a:ext uri="{FF2B5EF4-FFF2-40B4-BE49-F238E27FC236}">
                <a16:creationId xmlns:a16="http://schemas.microsoft.com/office/drawing/2014/main" id="{1D0F926A-27A2-E57C-9CA5-7D84116A43AF}"/>
              </a:ext>
            </a:extLst>
          </p:cNvPr>
          <p:cNvSpPr txBox="1"/>
          <p:nvPr/>
        </p:nvSpPr>
        <p:spPr>
          <a:xfrm>
            <a:off x="11227422" y="5628807"/>
            <a:ext cx="964577" cy="369332"/>
          </a:xfrm>
          <a:prstGeom prst="rect">
            <a:avLst/>
          </a:prstGeom>
          <a:noFill/>
        </p:spPr>
        <p:txBody>
          <a:bodyPr wrap="square">
            <a:spAutoFit/>
          </a:bodyPr>
          <a:lstStyle/>
          <a:p>
            <a:r>
              <a:rPr lang="en-GB" sz="900" b="0" i="0">
                <a:solidFill>
                  <a:schemeClr val="bg1"/>
                </a:solidFill>
                <a:effectLst/>
                <a:latin typeface="Roboto" panose="02000000000000000000" pitchFamily="2" charset="0"/>
              </a:rPr>
              <a:t>Powered by DALL·E 3</a:t>
            </a:r>
            <a:endParaRPr lang="en-IE" sz="900">
              <a:solidFill>
                <a:schemeClr val="bg1"/>
              </a:solidFill>
            </a:endParaRPr>
          </a:p>
        </p:txBody>
      </p:sp>
      <p:pic>
        <p:nvPicPr>
          <p:cNvPr id="13" name="Picture 12">
            <a:extLst>
              <a:ext uri="{FF2B5EF4-FFF2-40B4-BE49-F238E27FC236}">
                <a16:creationId xmlns:a16="http://schemas.microsoft.com/office/drawing/2014/main" id="{E07FF721-E39E-4C34-8D0F-47B9DA8DA630}"/>
              </a:ext>
            </a:extLst>
          </p:cNvPr>
          <p:cNvPicPr>
            <a:picLocks noChangeAspect="1"/>
          </p:cNvPicPr>
          <p:nvPr/>
        </p:nvPicPr>
        <p:blipFill rotWithShape="1">
          <a:blip r:embed="rId3">
            <a:alphaModFix amt="50000"/>
          </a:blip>
          <a:srcRect l="19877"/>
          <a:stretch/>
        </p:blipFill>
        <p:spPr>
          <a:xfrm flipH="1">
            <a:off x="8649322" y="-11244"/>
            <a:ext cx="3553017" cy="5998139"/>
          </a:xfrm>
          <a:prstGeom prst="rect">
            <a:avLst/>
          </a:prstGeom>
        </p:spPr>
      </p:pic>
      <p:sp>
        <p:nvSpPr>
          <p:cNvPr id="14" name="TextBox 13">
            <a:extLst>
              <a:ext uri="{FF2B5EF4-FFF2-40B4-BE49-F238E27FC236}">
                <a16:creationId xmlns:a16="http://schemas.microsoft.com/office/drawing/2014/main" id="{7503082E-C06D-3AD8-DECB-39B3C83193F6}"/>
              </a:ext>
            </a:extLst>
          </p:cNvPr>
          <p:cNvSpPr txBox="1"/>
          <p:nvPr/>
        </p:nvSpPr>
        <p:spPr>
          <a:xfrm>
            <a:off x="11227422" y="5628807"/>
            <a:ext cx="964577" cy="369332"/>
          </a:xfrm>
          <a:prstGeom prst="rect">
            <a:avLst/>
          </a:prstGeom>
          <a:noFill/>
        </p:spPr>
        <p:txBody>
          <a:bodyPr wrap="square">
            <a:spAutoFit/>
          </a:bodyPr>
          <a:lstStyle/>
          <a:p>
            <a:r>
              <a:rPr lang="en-GB" sz="900" b="0" i="0">
                <a:solidFill>
                  <a:schemeClr val="bg1"/>
                </a:solidFill>
                <a:effectLst/>
                <a:latin typeface="Roboto" panose="02000000000000000000" pitchFamily="2" charset="0"/>
              </a:rPr>
              <a:t>Powered by DALL·E 3</a:t>
            </a:r>
            <a:endParaRPr lang="en-IE" sz="900">
              <a:solidFill>
                <a:schemeClr val="bg1"/>
              </a:solidFill>
            </a:endParaRPr>
          </a:p>
        </p:txBody>
      </p:sp>
      <p:pic>
        <p:nvPicPr>
          <p:cNvPr id="15" name="Picture 14">
            <a:extLst>
              <a:ext uri="{FF2B5EF4-FFF2-40B4-BE49-F238E27FC236}">
                <a16:creationId xmlns:a16="http://schemas.microsoft.com/office/drawing/2014/main" id="{C6EEF951-33E1-94FF-753A-0E0A109F5ECC}"/>
              </a:ext>
            </a:extLst>
          </p:cNvPr>
          <p:cNvPicPr>
            <a:picLocks noChangeAspect="1"/>
          </p:cNvPicPr>
          <p:nvPr/>
        </p:nvPicPr>
        <p:blipFill>
          <a:blip r:embed="rId4">
            <a:alphaModFix amt="70000"/>
          </a:blip>
          <a:stretch>
            <a:fillRect/>
          </a:stretch>
        </p:blipFill>
        <p:spPr>
          <a:xfrm>
            <a:off x="8649322" y="0"/>
            <a:ext cx="3542677" cy="1299534"/>
          </a:xfrm>
          <a:prstGeom prst="rect">
            <a:avLst/>
          </a:prstGeom>
        </p:spPr>
      </p:pic>
      <p:sp>
        <p:nvSpPr>
          <p:cNvPr id="2" name="Title 1">
            <a:extLst>
              <a:ext uri="{FF2B5EF4-FFF2-40B4-BE49-F238E27FC236}">
                <a16:creationId xmlns:a16="http://schemas.microsoft.com/office/drawing/2014/main" id="{E838D62C-DE1F-91EA-2B59-82BB0275020E}"/>
              </a:ext>
            </a:extLst>
          </p:cNvPr>
          <p:cNvSpPr>
            <a:spLocks noGrp="1"/>
          </p:cNvSpPr>
          <p:nvPr>
            <p:ph type="title"/>
          </p:nvPr>
        </p:nvSpPr>
        <p:spPr>
          <a:xfrm>
            <a:off x="838200" y="365125"/>
            <a:ext cx="10515600" cy="757130"/>
          </a:xfrm>
        </p:spPr>
        <p:txBody>
          <a:bodyPr/>
          <a:lstStyle/>
          <a:p>
            <a:r>
              <a:rPr lang="en-IE" dirty="0"/>
              <a:t>EU AI ACT*</a:t>
            </a:r>
            <a:br>
              <a:rPr lang="en-IE" dirty="0"/>
            </a:br>
            <a:r>
              <a:rPr lang="en-US" dirty="0"/>
              <a:t>Overview</a:t>
            </a:r>
            <a:endParaRPr lang="en-IE" dirty="0"/>
          </a:p>
        </p:txBody>
      </p:sp>
      <p:sp>
        <p:nvSpPr>
          <p:cNvPr id="3" name="Content Placeholder 2">
            <a:extLst>
              <a:ext uri="{FF2B5EF4-FFF2-40B4-BE49-F238E27FC236}">
                <a16:creationId xmlns:a16="http://schemas.microsoft.com/office/drawing/2014/main" id="{36827FF0-C6F2-814F-07A2-D8DD589EEC51}"/>
              </a:ext>
            </a:extLst>
          </p:cNvPr>
          <p:cNvSpPr>
            <a:spLocks noGrp="1"/>
          </p:cNvSpPr>
          <p:nvPr>
            <p:ph idx="4294967295"/>
          </p:nvPr>
        </p:nvSpPr>
        <p:spPr>
          <a:xfrm>
            <a:off x="838200" y="1122255"/>
            <a:ext cx="11353800" cy="4710112"/>
          </a:xfrm>
        </p:spPr>
        <p:txBody>
          <a:bodyPr>
            <a:noAutofit/>
          </a:bodyPr>
          <a:lstStyle/>
          <a:p>
            <a:pPr marL="0" indent="0">
              <a:lnSpc>
                <a:spcPct val="120000"/>
              </a:lnSpc>
              <a:spcBef>
                <a:spcPts val="0"/>
              </a:spcBef>
              <a:buNone/>
            </a:pPr>
            <a:r>
              <a:rPr lang="en-GB" sz="1200" dirty="0">
                <a:gradFill>
                  <a:gsLst>
                    <a:gs pos="0">
                      <a:schemeClr val="bg1"/>
                    </a:gs>
                    <a:gs pos="100000">
                      <a:srgbClr val="0E8BAB">
                        <a:lumMod val="30000"/>
                        <a:lumOff val="70000"/>
                      </a:srgbClr>
                    </a:gs>
                  </a:gsLst>
                  <a:lin ang="0" scaled="1"/>
                </a:gradFill>
              </a:rPr>
              <a:t>On March 13th  2024, the European Parliament has approved the AI Act. </a:t>
            </a:r>
          </a:p>
          <a:p>
            <a:pPr>
              <a:lnSpc>
                <a:spcPct val="120000"/>
              </a:lnSpc>
              <a:spcBef>
                <a:spcPts val="0"/>
              </a:spcBef>
            </a:pPr>
            <a:endParaRPr lang="en-GB" sz="1200" dirty="0">
              <a:gradFill>
                <a:gsLst>
                  <a:gs pos="0">
                    <a:schemeClr val="bg1"/>
                  </a:gs>
                  <a:gs pos="100000">
                    <a:srgbClr val="0E8BAB">
                      <a:lumMod val="30000"/>
                      <a:lumOff val="70000"/>
                    </a:srgbClr>
                  </a:gs>
                </a:gsLst>
                <a:lin ang="0" scaled="1"/>
              </a:gradFill>
            </a:endParaRPr>
          </a:p>
          <a:p>
            <a:pPr marL="0" indent="0">
              <a:lnSpc>
                <a:spcPct val="120000"/>
              </a:lnSpc>
              <a:spcBef>
                <a:spcPts val="0"/>
              </a:spcBef>
              <a:buNone/>
            </a:pPr>
            <a:r>
              <a:rPr lang="en-GB" sz="1200" dirty="0">
                <a:solidFill>
                  <a:srgbClr val="FFC000"/>
                </a:solidFill>
              </a:rPr>
              <a:t>WHAT’S THE DEFINITION OF AI?</a:t>
            </a:r>
            <a:r>
              <a:rPr lang="en-US" sz="1200" dirty="0">
                <a:solidFill>
                  <a:srgbClr val="FFC000"/>
                </a:solidFill>
              </a:rPr>
              <a:t> </a:t>
            </a:r>
          </a:p>
          <a:p>
            <a:pPr marL="0" indent="0" algn="ctr">
              <a:lnSpc>
                <a:spcPct val="120000"/>
              </a:lnSpc>
              <a:spcBef>
                <a:spcPts val="0"/>
              </a:spcBef>
              <a:buNone/>
            </a:pPr>
            <a:r>
              <a:rPr lang="en-US" sz="1200" dirty="0">
                <a:gradFill>
                  <a:gsLst>
                    <a:gs pos="0">
                      <a:schemeClr val="bg1"/>
                    </a:gs>
                    <a:gs pos="100000">
                      <a:srgbClr val="0E8BAB">
                        <a:lumMod val="30000"/>
                        <a:lumOff val="70000"/>
                      </a:srgbClr>
                    </a:gs>
                  </a:gsLst>
                  <a:lin ang="0" scaled="1"/>
                </a:gradFill>
              </a:rPr>
              <a:t>a machine-based system designed to operate with varying levels of autonomy, that may exhibit adaptiveness after deployment and that, for explicit or implicit objectives, infers, from the input it receives, how to generate outputs such as predictions, content, recommendations, or decisions that can influence physical or virtual environments; </a:t>
            </a:r>
            <a:endParaRPr lang="en-GB" sz="1200" dirty="0">
              <a:gradFill>
                <a:gsLst>
                  <a:gs pos="0">
                    <a:schemeClr val="bg1"/>
                  </a:gs>
                  <a:gs pos="100000">
                    <a:srgbClr val="0E8BAB">
                      <a:lumMod val="30000"/>
                      <a:lumOff val="70000"/>
                    </a:srgbClr>
                  </a:gs>
                </a:gsLst>
                <a:lin ang="0" scaled="1"/>
              </a:gradFill>
            </a:endParaRPr>
          </a:p>
          <a:p>
            <a:pPr>
              <a:lnSpc>
                <a:spcPct val="120000"/>
              </a:lnSpc>
              <a:spcBef>
                <a:spcPts val="0"/>
              </a:spcBef>
            </a:pPr>
            <a:endParaRPr lang="en-GB" sz="1200" dirty="0">
              <a:gradFill>
                <a:gsLst>
                  <a:gs pos="0">
                    <a:schemeClr val="bg1"/>
                  </a:gs>
                  <a:gs pos="100000">
                    <a:srgbClr val="0E8BAB">
                      <a:lumMod val="30000"/>
                      <a:lumOff val="70000"/>
                    </a:srgbClr>
                  </a:gs>
                </a:gsLst>
                <a:lin ang="0" scaled="1"/>
              </a:gradFill>
            </a:endParaRPr>
          </a:p>
          <a:p>
            <a:pPr marL="0" indent="0">
              <a:lnSpc>
                <a:spcPct val="120000"/>
              </a:lnSpc>
              <a:spcBef>
                <a:spcPts val="0"/>
              </a:spcBef>
              <a:buNone/>
            </a:pPr>
            <a:r>
              <a:rPr lang="en-GB" sz="1200" dirty="0">
                <a:solidFill>
                  <a:srgbClr val="FFC000"/>
                </a:solidFill>
              </a:rPr>
              <a:t>WHAT AI CLASSIFICATIONS ARE DEFINED?</a:t>
            </a:r>
          </a:p>
          <a:p>
            <a:pPr marL="0" marR="0" lvl="0" indent="0" fontAlgn="auto">
              <a:lnSpc>
                <a:spcPct val="120000"/>
              </a:lnSpc>
              <a:spcBef>
                <a:spcPts val="0"/>
              </a:spcBef>
              <a:spcAft>
                <a:spcPts val="0"/>
              </a:spcAft>
              <a:buClrTx/>
              <a:buSzTx/>
              <a:buNone/>
              <a:tabLst/>
              <a:defRPr/>
            </a:pPr>
            <a:r>
              <a:rPr lang="en-GB" sz="1200" dirty="0">
                <a:gradFill>
                  <a:gsLst>
                    <a:gs pos="0">
                      <a:schemeClr val="bg1"/>
                    </a:gs>
                    <a:gs pos="100000">
                      <a:srgbClr val="0E8BAB">
                        <a:lumMod val="30000"/>
                        <a:lumOff val="70000"/>
                      </a:srgbClr>
                    </a:gs>
                  </a:gsLst>
                  <a:lin ang="0" scaled="1"/>
                </a:gradFill>
              </a:rPr>
              <a:t>Prohibited AI Systems:</a:t>
            </a:r>
          </a:p>
          <a:p>
            <a:pPr marL="971550" lvl="1" indent="-285750">
              <a:lnSpc>
                <a:spcPct val="120000"/>
              </a:lnSpc>
              <a:spcBef>
                <a:spcPts val="0"/>
              </a:spcBef>
              <a:defRPr/>
            </a:pPr>
            <a:r>
              <a:rPr lang="en-GB" sz="1200" dirty="0">
                <a:gradFill>
                  <a:gsLst>
                    <a:gs pos="0">
                      <a:schemeClr val="bg1"/>
                    </a:gs>
                    <a:gs pos="100000">
                      <a:srgbClr val="0E8BAB">
                        <a:lumMod val="30000"/>
                        <a:lumOff val="70000"/>
                      </a:srgbClr>
                    </a:gs>
                  </a:gsLst>
                  <a:lin ang="0" scaled="1"/>
                </a:gradFill>
                <a:latin typeface="BearingPoint Sans L + C" pitchFamily="2" charset="77"/>
                <a:ea typeface="+mn-ea"/>
                <a:cs typeface="+mn-cs"/>
              </a:rPr>
              <a:t>Certain AI practices deemed unacceptable will be banned. (social scoring, facial recognition etc..)</a:t>
            </a:r>
          </a:p>
          <a:p>
            <a:pPr marL="0" indent="0">
              <a:lnSpc>
                <a:spcPct val="120000"/>
              </a:lnSpc>
              <a:spcBef>
                <a:spcPts val="0"/>
              </a:spcBef>
              <a:buNone/>
              <a:defRPr/>
            </a:pPr>
            <a:r>
              <a:rPr lang="en-US" sz="1200" dirty="0">
                <a:gradFill>
                  <a:gsLst>
                    <a:gs pos="0">
                      <a:schemeClr val="bg1"/>
                    </a:gs>
                    <a:gs pos="100000">
                      <a:srgbClr val="0E8BAB">
                        <a:lumMod val="30000"/>
                        <a:lumOff val="70000"/>
                      </a:srgbClr>
                    </a:gs>
                  </a:gsLst>
                  <a:lin ang="0" scaled="1"/>
                </a:gradFill>
              </a:rPr>
              <a:t>General Purpose AI Systems:</a:t>
            </a:r>
          </a:p>
          <a:p>
            <a:pPr marL="971550" lvl="1" indent="-285750">
              <a:lnSpc>
                <a:spcPct val="120000"/>
              </a:lnSpc>
              <a:spcBef>
                <a:spcPts val="0"/>
              </a:spcBef>
              <a:buFont typeface="Arial" panose="020B0604020202020204" pitchFamily="34" charset="0"/>
              <a:buChar char="•"/>
            </a:pPr>
            <a:r>
              <a:rPr lang="en-US" sz="1200" dirty="0">
                <a:gradFill>
                  <a:gsLst>
                    <a:gs pos="0">
                      <a:schemeClr val="bg1"/>
                    </a:gs>
                    <a:gs pos="100000">
                      <a:srgbClr val="0E8BAB">
                        <a:lumMod val="30000"/>
                        <a:lumOff val="70000"/>
                      </a:srgbClr>
                    </a:gs>
                  </a:gsLst>
                  <a:lin ang="0" scaled="1"/>
                </a:gradFill>
                <a:latin typeface="BearingPoint Sans L + C" pitchFamily="2" charset="77"/>
                <a:ea typeface="+mn-ea"/>
                <a:cs typeface="+mn-cs"/>
              </a:rPr>
              <a:t>AI system designed to perform general-purpose functions such as image and speech recognition, pattern recognition, translation, and others.</a:t>
            </a:r>
            <a:endParaRPr lang="en-GB" sz="1200" dirty="0">
              <a:gradFill>
                <a:gsLst>
                  <a:gs pos="0">
                    <a:schemeClr val="bg1"/>
                  </a:gs>
                  <a:gs pos="100000">
                    <a:srgbClr val="0E8BAB">
                      <a:lumMod val="30000"/>
                      <a:lumOff val="70000"/>
                    </a:srgbClr>
                  </a:gs>
                </a:gsLst>
                <a:lin ang="0" scaled="1"/>
              </a:gradFill>
              <a:latin typeface="BearingPoint Sans L + C" pitchFamily="2" charset="77"/>
              <a:ea typeface="+mn-ea"/>
              <a:cs typeface="+mn-cs"/>
            </a:endParaRPr>
          </a:p>
          <a:p>
            <a:pPr marL="0" lvl="1" indent="0">
              <a:lnSpc>
                <a:spcPct val="120000"/>
              </a:lnSpc>
              <a:spcBef>
                <a:spcPts val="0"/>
              </a:spcBef>
              <a:buNone/>
            </a:pPr>
            <a:r>
              <a:rPr lang="en-GB" sz="1200" dirty="0">
                <a:gradFill>
                  <a:gsLst>
                    <a:gs pos="0">
                      <a:schemeClr val="bg1"/>
                    </a:gs>
                    <a:gs pos="100000">
                      <a:srgbClr val="0E8BAB">
                        <a:lumMod val="30000"/>
                        <a:lumOff val="70000"/>
                      </a:srgbClr>
                    </a:gs>
                  </a:gsLst>
                  <a:lin ang="0" scaled="1"/>
                </a:gradFill>
                <a:latin typeface="BearingPoint Sans L + C" pitchFamily="2" charset="77"/>
                <a:ea typeface="+mn-ea"/>
                <a:cs typeface="+mn-cs"/>
              </a:rPr>
              <a:t>Systemic Risk:</a:t>
            </a:r>
          </a:p>
          <a:p>
            <a:pPr marL="971550" lvl="1" indent="-285750">
              <a:lnSpc>
                <a:spcPct val="120000"/>
              </a:lnSpc>
              <a:spcBef>
                <a:spcPts val="0"/>
              </a:spcBef>
            </a:pPr>
            <a:r>
              <a:rPr lang="en-GB" sz="1200" dirty="0">
                <a:gradFill>
                  <a:gsLst>
                    <a:gs pos="0">
                      <a:schemeClr val="bg1"/>
                    </a:gs>
                    <a:gs pos="100000">
                      <a:srgbClr val="0E8BAB">
                        <a:lumMod val="30000"/>
                        <a:lumOff val="70000"/>
                      </a:srgbClr>
                    </a:gs>
                  </a:gsLst>
                  <a:lin ang="0" scaled="1"/>
                </a:gradFill>
                <a:latin typeface="BearingPoint Sans L + C" pitchFamily="2" charset="77"/>
                <a:ea typeface="+mn-ea"/>
                <a:cs typeface="+mn-cs"/>
              </a:rPr>
              <a:t>a risk that is specific to the high-impact capabilities of general- purpose AI models, having a significant impact on the Union market due to their reach, or due to actual or reasonably foreseeable negative effects on public health, safety, public security, fundamental rights, or the society as a whole, that can be propagated at scale across the value chain</a:t>
            </a:r>
          </a:p>
          <a:p>
            <a:pPr marL="0" indent="0">
              <a:lnSpc>
                <a:spcPct val="120000"/>
              </a:lnSpc>
              <a:spcBef>
                <a:spcPts val="0"/>
              </a:spcBef>
              <a:buNone/>
            </a:pPr>
            <a:r>
              <a:rPr lang="en-GB" sz="1200" dirty="0">
                <a:gradFill>
                  <a:gsLst>
                    <a:gs pos="0">
                      <a:schemeClr val="bg1"/>
                    </a:gs>
                    <a:gs pos="100000">
                      <a:srgbClr val="0E8BAB">
                        <a:lumMod val="30000"/>
                        <a:lumOff val="70000"/>
                      </a:srgbClr>
                    </a:gs>
                  </a:gsLst>
                  <a:lin ang="0" scaled="1"/>
                </a:gradFill>
              </a:rPr>
              <a:t>High-Risk AI Systems:</a:t>
            </a:r>
          </a:p>
          <a:p>
            <a:pPr marL="971550" lvl="1" indent="-285750">
              <a:lnSpc>
                <a:spcPct val="120000"/>
              </a:lnSpc>
              <a:spcBef>
                <a:spcPts val="0"/>
              </a:spcBef>
              <a:defRPr/>
            </a:pPr>
            <a:r>
              <a:rPr lang="en-US" sz="1200" dirty="0">
                <a:gradFill>
                  <a:gsLst>
                    <a:gs pos="0">
                      <a:schemeClr val="bg1"/>
                    </a:gs>
                    <a:gs pos="100000">
                      <a:srgbClr val="0E8BAB">
                        <a:lumMod val="30000"/>
                        <a:lumOff val="70000"/>
                      </a:srgbClr>
                    </a:gs>
                  </a:gsLst>
                  <a:lin ang="0" scaled="1"/>
                </a:gradFill>
                <a:latin typeface="BearingPoint Sans L + C" pitchFamily="2" charset="77"/>
                <a:ea typeface="+mn-ea"/>
                <a:cs typeface="+mn-cs"/>
              </a:rPr>
              <a:t>AI systems intended to be used for biometrics, critical infrastructure, education, employment, access to essential services, law enforcement, migration/asylum/border control management, and administration of justice/democratic processes.</a:t>
            </a:r>
            <a:endParaRPr lang="en-GB" sz="1200" dirty="0">
              <a:gradFill>
                <a:gsLst>
                  <a:gs pos="0">
                    <a:schemeClr val="bg1"/>
                  </a:gs>
                  <a:gs pos="100000">
                    <a:srgbClr val="0E8BAB">
                      <a:lumMod val="30000"/>
                      <a:lumOff val="70000"/>
                    </a:srgbClr>
                  </a:gs>
                </a:gsLst>
                <a:lin ang="0" scaled="1"/>
              </a:gradFill>
              <a:latin typeface="BearingPoint Sans L + C" pitchFamily="2" charset="77"/>
              <a:ea typeface="+mn-ea"/>
              <a:cs typeface="+mn-cs"/>
            </a:endParaRPr>
          </a:p>
          <a:p>
            <a:pPr marL="971550" lvl="1" indent="-285750">
              <a:lnSpc>
                <a:spcPct val="120000"/>
              </a:lnSpc>
              <a:spcBef>
                <a:spcPts val="0"/>
              </a:spcBef>
              <a:buFont typeface="Arial" panose="020B0604020202020204" pitchFamily="34" charset="0"/>
              <a:buChar char="•"/>
              <a:defRPr/>
            </a:pPr>
            <a:r>
              <a:rPr lang="en-GB" sz="1200" dirty="0">
                <a:gradFill>
                  <a:gsLst>
                    <a:gs pos="0">
                      <a:schemeClr val="bg1"/>
                    </a:gs>
                    <a:gs pos="100000">
                      <a:srgbClr val="0E8BAB">
                        <a:lumMod val="30000"/>
                        <a:lumOff val="70000"/>
                      </a:srgbClr>
                    </a:gs>
                  </a:gsLst>
                  <a:lin ang="0" scaled="1"/>
                </a:gradFill>
                <a:latin typeface="BearingPoint Sans L + C" pitchFamily="2" charset="77"/>
                <a:ea typeface="+mn-ea"/>
                <a:cs typeface="+mn-cs"/>
              </a:rPr>
              <a:t>Strict obligations and requirements for AI systems considered high-risk.</a:t>
            </a:r>
            <a:endParaRPr lang="en-US" sz="1200" dirty="0">
              <a:gradFill>
                <a:gsLst>
                  <a:gs pos="0">
                    <a:schemeClr val="bg1"/>
                  </a:gs>
                  <a:gs pos="100000">
                    <a:srgbClr val="0E8BAB">
                      <a:lumMod val="30000"/>
                      <a:lumOff val="70000"/>
                    </a:srgbClr>
                  </a:gs>
                </a:gsLst>
                <a:lin ang="0" scaled="1"/>
              </a:gradFill>
              <a:latin typeface="BearingPoint Sans L + C" pitchFamily="2" charset="77"/>
              <a:ea typeface="+mn-ea"/>
              <a:cs typeface="+mn-cs"/>
            </a:endParaRPr>
          </a:p>
          <a:p>
            <a:pPr marL="11113" lvl="1" indent="0">
              <a:lnSpc>
                <a:spcPct val="120000"/>
              </a:lnSpc>
              <a:spcBef>
                <a:spcPts val="0"/>
              </a:spcBef>
              <a:buNone/>
            </a:pPr>
            <a:r>
              <a:rPr lang="en-GB" sz="1200" dirty="0">
                <a:gradFill>
                  <a:gsLst>
                    <a:gs pos="0">
                      <a:schemeClr val="bg1"/>
                    </a:gs>
                    <a:gs pos="100000">
                      <a:srgbClr val="0E8BAB">
                        <a:lumMod val="30000"/>
                        <a:lumOff val="70000"/>
                      </a:srgbClr>
                    </a:gs>
                  </a:gsLst>
                  <a:lin ang="0" scaled="1"/>
                </a:gradFill>
              </a:rPr>
              <a:t>Minimal-Risk AI Systems:</a:t>
            </a:r>
          </a:p>
          <a:p>
            <a:pPr marL="971550" lvl="1" indent="-285750">
              <a:lnSpc>
                <a:spcPct val="120000"/>
              </a:lnSpc>
              <a:spcBef>
                <a:spcPts val="0"/>
              </a:spcBef>
              <a:buFont typeface="Arial" panose="020B0604020202020204" pitchFamily="34" charset="0"/>
              <a:buChar char="•"/>
            </a:pPr>
            <a:r>
              <a:rPr lang="en-GB" sz="1200" dirty="0">
                <a:gradFill>
                  <a:gsLst>
                    <a:gs pos="0">
                      <a:schemeClr val="bg1"/>
                    </a:gs>
                    <a:gs pos="100000">
                      <a:srgbClr val="0E8BAB">
                        <a:lumMod val="30000"/>
                        <a:lumOff val="70000"/>
                      </a:srgbClr>
                    </a:gs>
                  </a:gsLst>
                  <a:lin ang="0" scaled="1"/>
                </a:gradFill>
                <a:latin typeface="BearingPoint Sans L + C" pitchFamily="2" charset="77"/>
                <a:ea typeface="+mn-ea"/>
                <a:cs typeface="+mn-cs"/>
              </a:rPr>
              <a:t>All other AI systems</a:t>
            </a:r>
          </a:p>
        </p:txBody>
      </p:sp>
      <p:sp>
        <p:nvSpPr>
          <p:cNvPr id="6" name="Date Placeholder 5">
            <a:extLst>
              <a:ext uri="{FF2B5EF4-FFF2-40B4-BE49-F238E27FC236}">
                <a16:creationId xmlns:a16="http://schemas.microsoft.com/office/drawing/2014/main" id="{DEFE27AA-2234-2A3D-86E9-415D2562FC69}"/>
              </a:ext>
            </a:extLst>
          </p:cNvPr>
          <p:cNvSpPr>
            <a:spLocks noGrp="1"/>
          </p:cNvSpPr>
          <p:nvPr>
            <p:ph type="dt" sz="half" idx="4294967295"/>
          </p:nvPr>
        </p:nvSpPr>
        <p:spPr>
          <a:xfrm>
            <a:off x="0" y="0"/>
            <a:ext cx="0" cy="0"/>
          </a:xfrm>
        </p:spPr>
        <p:txBody>
          <a:bodyPr/>
          <a:lstStyle/>
          <a:p>
            <a:fld id="{05E04F24-5183-4938-80E6-05C4A9FE65AC}" type="datetime1">
              <a:rPr lang="en-IE" smtClean="0"/>
              <a:pPr/>
              <a:t>25/03/2024</a:t>
            </a:fld>
            <a:endParaRPr lang="en-GB"/>
          </a:p>
        </p:txBody>
      </p:sp>
      <p:sp>
        <p:nvSpPr>
          <p:cNvPr id="8" name="Slide Number Placeholder 7">
            <a:extLst>
              <a:ext uri="{FF2B5EF4-FFF2-40B4-BE49-F238E27FC236}">
                <a16:creationId xmlns:a16="http://schemas.microsoft.com/office/drawing/2014/main" id="{183D78E3-B449-4D7B-BD09-5B0C79498DA3}"/>
              </a:ext>
            </a:extLst>
          </p:cNvPr>
          <p:cNvSpPr>
            <a:spLocks noGrp="1"/>
          </p:cNvSpPr>
          <p:nvPr>
            <p:ph type="sldNum" sz="quarter" idx="4294967295"/>
          </p:nvPr>
        </p:nvSpPr>
        <p:spPr>
          <a:xfrm>
            <a:off x="0" y="0"/>
            <a:ext cx="0" cy="0"/>
          </a:xfrm>
        </p:spPr>
        <p:txBody>
          <a:bodyPr/>
          <a:lstStyle/>
          <a:p>
            <a:fld id="{C3D59E75-5B20-4381-9776-4576305CCD61}" type="slidenum">
              <a:rPr lang="nl-BE" smtClean="0"/>
              <a:pPr/>
              <a:t>8</a:t>
            </a:fld>
            <a:endParaRPr lang="nl-BE"/>
          </a:p>
        </p:txBody>
      </p:sp>
      <p:sp>
        <p:nvSpPr>
          <p:cNvPr id="27" name="TextBox 26">
            <a:extLst>
              <a:ext uri="{FF2B5EF4-FFF2-40B4-BE49-F238E27FC236}">
                <a16:creationId xmlns:a16="http://schemas.microsoft.com/office/drawing/2014/main" id="{315F0D7E-76E1-1CFA-1260-CDD12ACEAE1D}"/>
              </a:ext>
            </a:extLst>
          </p:cNvPr>
          <p:cNvSpPr txBox="1"/>
          <p:nvPr/>
        </p:nvSpPr>
        <p:spPr>
          <a:xfrm>
            <a:off x="2977549" y="6670783"/>
            <a:ext cx="10135860" cy="215444"/>
          </a:xfrm>
          <a:prstGeom prst="rect">
            <a:avLst/>
          </a:prstGeom>
          <a:noFill/>
        </p:spPr>
        <p:txBody>
          <a:bodyPr wrap="square" rtlCol="0">
            <a:spAutoFit/>
          </a:bodyPr>
          <a:lstStyle/>
          <a:p>
            <a:r>
              <a:rPr lang="en-US" sz="800" b="1" dirty="0"/>
              <a:t>* This material is for general information purposes only and it does not contain a complete description, analysis or advice.  </a:t>
            </a:r>
            <a:r>
              <a:rPr lang="en-US" sz="800" b="1" dirty="0" err="1"/>
              <a:t>Informations</a:t>
            </a:r>
            <a:r>
              <a:rPr lang="en-US" sz="800" b="1" dirty="0"/>
              <a:t> are based on the latest (</a:t>
            </a:r>
            <a:r>
              <a:rPr lang="en-US" sz="800" b="1" dirty="0">
                <a:solidFill>
                  <a:srgbClr val="0563C1"/>
                </a:solidFill>
              </a:rPr>
              <a:t>March</a:t>
            </a:r>
            <a:r>
              <a:rPr lang="en-US" sz="800" b="1" dirty="0">
                <a:hlinkClick r:id="rId5">
                  <a:extLst>
                    <a:ext uri="{A12FA001-AC4F-418D-AE19-62706E023703}">
                      <ahyp:hlinkClr xmlns:ahyp="http://schemas.microsoft.com/office/drawing/2018/hyperlinkcolor" val="tx"/>
                    </a:ext>
                  </a:extLst>
                </a:hlinkClick>
              </a:rPr>
              <a:t> 2024) version of the AI Act</a:t>
            </a:r>
            <a:r>
              <a:rPr lang="en-US" sz="800" b="1" dirty="0"/>
              <a:t>.</a:t>
            </a:r>
            <a:endParaRPr lang="de-AT" sz="800" dirty="0"/>
          </a:p>
        </p:txBody>
      </p:sp>
    </p:spTree>
    <p:extLst>
      <p:ext uri="{BB962C8B-B14F-4D97-AF65-F5344CB8AC3E}">
        <p14:creationId xmlns:p14="http://schemas.microsoft.com/office/powerpoint/2010/main" val="36059757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515AF148-D91A-2AF2-3596-0459A047E7C5}"/>
              </a:ext>
            </a:extLst>
          </p:cNvPr>
          <p:cNvPicPr>
            <a:picLocks noChangeAspect="1"/>
          </p:cNvPicPr>
          <p:nvPr/>
        </p:nvPicPr>
        <p:blipFill rotWithShape="1">
          <a:blip r:embed="rId2">
            <a:alphaModFix amt="10000"/>
          </a:blip>
          <a:srcRect l="19877"/>
          <a:stretch/>
        </p:blipFill>
        <p:spPr>
          <a:xfrm flipH="1">
            <a:off x="8649322" y="-11244"/>
            <a:ext cx="3553017" cy="5998139"/>
          </a:xfrm>
          <a:prstGeom prst="rect">
            <a:avLst/>
          </a:prstGeom>
        </p:spPr>
      </p:pic>
      <p:sp>
        <p:nvSpPr>
          <p:cNvPr id="10" name="TextBox 9">
            <a:extLst>
              <a:ext uri="{FF2B5EF4-FFF2-40B4-BE49-F238E27FC236}">
                <a16:creationId xmlns:a16="http://schemas.microsoft.com/office/drawing/2014/main" id="{D30652B9-239A-7080-63EF-1AE9DD87395D}"/>
              </a:ext>
            </a:extLst>
          </p:cNvPr>
          <p:cNvSpPr txBox="1"/>
          <p:nvPr/>
        </p:nvSpPr>
        <p:spPr>
          <a:xfrm>
            <a:off x="11227422" y="5628807"/>
            <a:ext cx="964577" cy="369332"/>
          </a:xfrm>
          <a:prstGeom prst="rect">
            <a:avLst/>
          </a:prstGeom>
          <a:noFill/>
        </p:spPr>
        <p:txBody>
          <a:bodyPr wrap="square">
            <a:spAutoFit/>
          </a:bodyPr>
          <a:lstStyle/>
          <a:p>
            <a:r>
              <a:rPr lang="en-GB" sz="900" b="0" i="0">
                <a:solidFill>
                  <a:schemeClr val="bg1"/>
                </a:solidFill>
                <a:effectLst/>
                <a:latin typeface="Roboto" panose="02000000000000000000" pitchFamily="2" charset="0"/>
              </a:rPr>
              <a:t>Powered by DALL·E 3</a:t>
            </a:r>
            <a:endParaRPr lang="en-IE" sz="900">
              <a:solidFill>
                <a:schemeClr val="bg1"/>
              </a:solidFill>
            </a:endParaRPr>
          </a:p>
        </p:txBody>
      </p:sp>
      <p:pic>
        <p:nvPicPr>
          <p:cNvPr id="5" name="Picture 4">
            <a:extLst>
              <a:ext uri="{FF2B5EF4-FFF2-40B4-BE49-F238E27FC236}">
                <a16:creationId xmlns:a16="http://schemas.microsoft.com/office/drawing/2014/main" id="{CC72F7E6-CC5D-AC82-B45D-45499EF11164}"/>
              </a:ext>
            </a:extLst>
          </p:cNvPr>
          <p:cNvPicPr>
            <a:picLocks noChangeAspect="1"/>
          </p:cNvPicPr>
          <p:nvPr/>
        </p:nvPicPr>
        <p:blipFill rotWithShape="1">
          <a:blip r:embed="rId2">
            <a:alphaModFix amt="50000"/>
          </a:blip>
          <a:srcRect l="19877"/>
          <a:stretch/>
        </p:blipFill>
        <p:spPr>
          <a:xfrm flipH="1">
            <a:off x="8649322" y="-11244"/>
            <a:ext cx="3553017" cy="5998139"/>
          </a:xfrm>
          <a:prstGeom prst="rect">
            <a:avLst/>
          </a:prstGeom>
        </p:spPr>
      </p:pic>
      <p:sp>
        <p:nvSpPr>
          <p:cNvPr id="9" name="TextBox 8">
            <a:extLst>
              <a:ext uri="{FF2B5EF4-FFF2-40B4-BE49-F238E27FC236}">
                <a16:creationId xmlns:a16="http://schemas.microsoft.com/office/drawing/2014/main" id="{5276B406-2F74-4D03-AA5E-5B3F7579B899}"/>
              </a:ext>
            </a:extLst>
          </p:cNvPr>
          <p:cNvSpPr txBox="1"/>
          <p:nvPr/>
        </p:nvSpPr>
        <p:spPr>
          <a:xfrm>
            <a:off x="11227422" y="5628807"/>
            <a:ext cx="964577" cy="369332"/>
          </a:xfrm>
          <a:prstGeom prst="rect">
            <a:avLst/>
          </a:prstGeom>
          <a:noFill/>
        </p:spPr>
        <p:txBody>
          <a:bodyPr wrap="square">
            <a:spAutoFit/>
          </a:bodyPr>
          <a:lstStyle/>
          <a:p>
            <a:r>
              <a:rPr lang="en-GB" sz="900" b="0" i="0">
                <a:solidFill>
                  <a:schemeClr val="bg1"/>
                </a:solidFill>
                <a:effectLst/>
                <a:latin typeface="Roboto" panose="02000000000000000000" pitchFamily="2" charset="0"/>
              </a:rPr>
              <a:t>Powered by DALL·E 3</a:t>
            </a:r>
            <a:endParaRPr lang="en-IE" sz="900">
              <a:solidFill>
                <a:schemeClr val="bg1"/>
              </a:solidFill>
            </a:endParaRPr>
          </a:p>
        </p:txBody>
      </p:sp>
      <p:pic>
        <p:nvPicPr>
          <p:cNvPr id="11" name="Picture 10">
            <a:extLst>
              <a:ext uri="{FF2B5EF4-FFF2-40B4-BE49-F238E27FC236}">
                <a16:creationId xmlns:a16="http://schemas.microsoft.com/office/drawing/2014/main" id="{D4D1CD58-86CD-6BE5-2DF1-5E9F348BBC2E}"/>
              </a:ext>
            </a:extLst>
          </p:cNvPr>
          <p:cNvPicPr>
            <a:picLocks noChangeAspect="1"/>
          </p:cNvPicPr>
          <p:nvPr/>
        </p:nvPicPr>
        <p:blipFill>
          <a:blip r:embed="rId3">
            <a:alphaModFix amt="70000"/>
          </a:blip>
          <a:stretch>
            <a:fillRect/>
          </a:stretch>
        </p:blipFill>
        <p:spPr>
          <a:xfrm>
            <a:off x="8649322" y="0"/>
            <a:ext cx="3542677" cy="1299534"/>
          </a:xfrm>
          <a:prstGeom prst="rect">
            <a:avLst/>
          </a:prstGeom>
        </p:spPr>
      </p:pic>
      <p:sp>
        <p:nvSpPr>
          <p:cNvPr id="2" name="Title 1">
            <a:extLst>
              <a:ext uri="{FF2B5EF4-FFF2-40B4-BE49-F238E27FC236}">
                <a16:creationId xmlns:a16="http://schemas.microsoft.com/office/drawing/2014/main" id="{E838D62C-DE1F-91EA-2B59-82BB0275020E}"/>
              </a:ext>
            </a:extLst>
          </p:cNvPr>
          <p:cNvSpPr>
            <a:spLocks noGrp="1"/>
          </p:cNvSpPr>
          <p:nvPr>
            <p:ph type="title"/>
          </p:nvPr>
        </p:nvSpPr>
        <p:spPr>
          <a:xfrm>
            <a:off x="838200" y="365125"/>
            <a:ext cx="10515600" cy="757130"/>
          </a:xfrm>
        </p:spPr>
        <p:txBody>
          <a:bodyPr/>
          <a:lstStyle/>
          <a:p>
            <a:r>
              <a:rPr lang="en-IE" dirty="0"/>
              <a:t>EU AI ACT*</a:t>
            </a:r>
            <a:br>
              <a:rPr lang="en-IE" dirty="0"/>
            </a:br>
            <a:r>
              <a:rPr lang="nl-BE" dirty="0"/>
              <a:t>What are you expected to do?</a:t>
            </a:r>
            <a:endParaRPr lang="en-IE" dirty="0"/>
          </a:p>
        </p:txBody>
      </p:sp>
      <p:sp>
        <p:nvSpPr>
          <p:cNvPr id="3" name="Content Placeholder 2">
            <a:extLst>
              <a:ext uri="{FF2B5EF4-FFF2-40B4-BE49-F238E27FC236}">
                <a16:creationId xmlns:a16="http://schemas.microsoft.com/office/drawing/2014/main" id="{36827FF0-C6F2-814F-07A2-D8DD589EEC51}"/>
              </a:ext>
            </a:extLst>
          </p:cNvPr>
          <p:cNvSpPr>
            <a:spLocks noGrp="1"/>
          </p:cNvSpPr>
          <p:nvPr>
            <p:ph idx="4294967295"/>
          </p:nvPr>
        </p:nvSpPr>
        <p:spPr>
          <a:xfrm>
            <a:off x="838200" y="1256318"/>
            <a:ext cx="7811122" cy="4974001"/>
          </a:xfrm>
        </p:spPr>
        <p:txBody>
          <a:bodyPr>
            <a:normAutofit fontScale="92500" lnSpcReduction="20000"/>
          </a:bodyPr>
          <a:lstStyle/>
          <a:p>
            <a:pPr marL="0" indent="0">
              <a:lnSpc>
                <a:spcPct val="120000"/>
              </a:lnSpc>
              <a:spcBef>
                <a:spcPts val="0"/>
              </a:spcBef>
              <a:buNone/>
            </a:pPr>
            <a:r>
              <a:rPr lang="en-GB" sz="1400" dirty="0">
                <a:solidFill>
                  <a:schemeClr val="accent4"/>
                </a:solidFill>
              </a:rPr>
              <a:t>ASSURE AI LITERACY OF STAFF</a:t>
            </a:r>
          </a:p>
          <a:p>
            <a:pPr>
              <a:lnSpc>
                <a:spcPct val="120000"/>
              </a:lnSpc>
              <a:spcBef>
                <a:spcPts val="0"/>
              </a:spcBef>
            </a:pPr>
            <a:r>
              <a:rPr lang="en-GB" sz="1400" dirty="0">
                <a:gradFill flip="none" rotWithShape="1">
                  <a:gsLst>
                    <a:gs pos="0">
                      <a:schemeClr val="bg1"/>
                    </a:gs>
                    <a:gs pos="100000">
                      <a:srgbClr val="0E8BAB"/>
                    </a:gs>
                  </a:gsLst>
                  <a:lin ang="10800000" scaled="1"/>
                  <a:tileRect/>
                </a:gradFill>
              </a:rPr>
              <a:t>Companies need to assure as sufficient level of AI literacy of their staff and other persons dealing with operations and use of AI systems.</a:t>
            </a:r>
          </a:p>
          <a:p>
            <a:pPr marL="0" indent="0">
              <a:lnSpc>
                <a:spcPct val="120000"/>
              </a:lnSpc>
              <a:spcBef>
                <a:spcPts val="0"/>
              </a:spcBef>
              <a:buNone/>
            </a:pPr>
            <a:r>
              <a:rPr lang="en-GB" sz="1400" dirty="0">
                <a:solidFill>
                  <a:schemeClr val="accent4"/>
                </a:solidFill>
              </a:rPr>
              <a:t>RISK ASSESSMENT: </a:t>
            </a:r>
          </a:p>
          <a:p>
            <a:pPr>
              <a:lnSpc>
                <a:spcPct val="120000"/>
              </a:lnSpc>
              <a:spcBef>
                <a:spcPts val="0"/>
              </a:spcBef>
            </a:pPr>
            <a:r>
              <a:rPr lang="en-GB" sz="1400" dirty="0">
                <a:gradFill flip="none" rotWithShape="1">
                  <a:gsLst>
                    <a:gs pos="0">
                      <a:schemeClr val="bg1"/>
                    </a:gs>
                    <a:gs pos="100000">
                      <a:srgbClr val="0E8BAB"/>
                    </a:gs>
                  </a:gsLst>
                  <a:lin ang="10800000" scaled="1"/>
                  <a:tileRect/>
                </a:gradFill>
              </a:rPr>
              <a:t>Companies must assess the risk level of their AI systems based on the intended use and potential harm to individuals or society. </a:t>
            </a:r>
            <a:br>
              <a:rPr lang="en-GB" sz="1400" dirty="0">
                <a:gradFill flip="none" rotWithShape="1">
                  <a:gsLst>
                    <a:gs pos="0">
                      <a:schemeClr val="bg1"/>
                    </a:gs>
                    <a:gs pos="100000">
                      <a:srgbClr val="0E8BAB"/>
                    </a:gs>
                  </a:gsLst>
                  <a:lin ang="10800000" scaled="1"/>
                  <a:tileRect/>
                </a:gradFill>
              </a:rPr>
            </a:br>
            <a:r>
              <a:rPr lang="en-GB" sz="1400" dirty="0">
                <a:gradFill flip="none" rotWithShape="1">
                  <a:gsLst>
                    <a:gs pos="0">
                      <a:schemeClr val="bg1"/>
                    </a:gs>
                    <a:gs pos="100000">
                      <a:srgbClr val="0E8BAB"/>
                    </a:gs>
                  </a:gsLst>
                  <a:lin ang="10800000" scaled="1"/>
                  <a:tileRect/>
                </a:gradFill>
              </a:rPr>
              <a:t>High-risk AI systems will be subject to stricter requirements.</a:t>
            </a:r>
          </a:p>
          <a:p>
            <a:pPr marL="0" indent="0">
              <a:lnSpc>
                <a:spcPct val="120000"/>
              </a:lnSpc>
              <a:spcBef>
                <a:spcPts val="0"/>
              </a:spcBef>
              <a:buNone/>
            </a:pPr>
            <a:r>
              <a:rPr lang="en-GB" sz="1400" dirty="0">
                <a:solidFill>
                  <a:schemeClr val="accent4"/>
                </a:solidFill>
              </a:rPr>
              <a:t>DATA QUALITY: </a:t>
            </a:r>
          </a:p>
          <a:p>
            <a:pPr>
              <a:lnSpc>
                <a:spcPct val="120000"/>
              </a:lnSpc>
              <a:spcBef>
                <a:spcPts val="0"/>
              </a:spcBef>
            </a:pPr>
            <a:r>
              <a:rPr lang="en-GB" sz="1400" dirty="0">
                <a:gradFill flip="none" rotWithShape="1">
                  <a:gsLst>
                    <a:gs pos="0">
                      <a:schemeClr val="bg1"/>
                    </a:gs>
                    <a:gs pos="100000">
                      <a:srgbClr val="0E8BAB"/>
                    </a:gs>
                  </a:gsLst>
                  <a:lin ang="10800000" scaled="1"/>
                  <a:tileRect/>
                </a:gradFill>
              </a:rPr>
              <a:t>Companies must ensure that the data used to train and test their AI systems is relevant, representative, and free from errors or bias.</a:t>
            </a:r>
          </a:p>
          <a:p>
            <a:pPr marL="0" indent="0">
              <a:lnSpc>
                <a:spcPct val="120000"/>
              </a:lnSpc>
              <a:spcBef>
                <a:spcPts val="0"/>
              </a:spcBef>
              <a:buNone/>
            </a:pPr>
            <a:r>
              <a:rPr lang="en-GB" sz="1400" dirty="0">
                <a:solidFill>
                  <a:schemeClr val="accent4"/>
                </a:solidFill>
              </a:rPr>
              <a:t>TRANSPARENCY: </a:t>
            </a:r>
          </a:p>
          <a:p>
            <a:pPr>
              <a:lnSpc>
                <a:spcPct val="120000"/>
              </a:lnSpc>
              <a:spcBef>
                <a:spcPts val="0"/>
              </a:spcBef>
            </a:pPr>
            <a:r>
              <a:rPr lang="en-GB" sz="1400" dirty="0">
                <a:gradFill flip="none" rotWithShape="1">
                  <a:gsLst>
                    <a:gs pos="0">
                      <a:schemeClr val="bg1"/>
                    </a:gs>
                    <a:gs pos="100000">
                      <a:srgbClr val="0E8BAB"/>
                    </a:gs>
                  </a:gsLst>
                  <a:lin ang="10800000" scaled="1"/>
                  <a:tileRect/>
                </a:gradFill>
              </a:rPr>
              <a:t>Companies must provide clear and understandable information about their AI systems, including their purpose, functionality, and limitations.</a:t>
            </a:r>
          </a:p>
          <a:p>
            <a:pPr marL="0" indent="0">
              <a:lnSpc>
                <a:spcPct val="120000"/>
              </a:lnSpc>
              <a:spcBef>
                <a:spcPts val="0"/>
              </a:spcBef>
              <a:buNone/>
            </a:pPr>
            <a:r>
              <a:rPr lang="en-GB" sz="1400" dirty="0">
                <a:solidFill>
                  <a:schemeClr val="accent4"/>
                </a:solidFill>
              </a:rPr>
              <a:t>HUMAN OVERSIGHT: </a:t>
            </a:r>
          </a:p>
          <a:p>
            <a:pPr>
              <a:lnSpc>
                <a:spcPct val="120000"/>
              </a:lnSpc>
              <a:spcBef>
                <a:spcPts val="0"/>
              </a:spcBef>
            </a:pPr>
            <a:r>
              <a:rPr lang="en-GB" sz="1400" dirty="0">
                <a:gradFill flip="none" rotWithShape="1">
                  <a:gsLst>
                    <a:gs pos="0">
                      <a:schemeClr val="bg1"/>
                    </a:gs>
                    <a:gs pos="100000">
                      <a:srgbClr val="0E8BAB"/>
                    </a:gs>
                  </a:gsLst>
                  <a:lin ang="10800000" scaled="1"/>
                  <a:tileRect/>
                </a:gradFill>
              </a:rPr>
              <a:t>Companies must ensure that their AI systems are designed and used in a way that allows for effective human oversight, including the ability to intervene and override the system's decisions.</a:t>
            </a:r>
          </a:p>
          <a:p>
            <a:pPr marL="0" indent="0">
              <a:lnSpc>
                <a:spcPct val="120000"/>
              </a:lnSpc>
              <a:spcBef>
                <a:spcPts val="0"/>
              </a:spcBef>
              <a:buNone/>
            </a:pPr>
            <a:r>
              <a:rPr lang="en-GB" sz="1400" dirty="0">
                <a:solidFill>
                  <a:schemeClr val="accent4"/>
                </a:solidFill>
              </a:rPr>
              <a:t>ROBUSTNESS AND ACCURACY: </a:t>
            </a:r>
          </a:p>
          <a:p>
            <a:pPr>
              <a:lnSpc>
                <a:spcPct val="120000"/>
              </a:lnSpc>
              <a:spcBef>
                <a:spcPts val="0"/>
              </a:spcBef>
            </a:pPr>
            <a:r>
              <a:rPr lang="en-GB" sz="1400" dirty="0">
                <a:gradFill flip="none" rotWithShape="1">
                  <a:gsLst>
                    <a:gs pos="0">
                      <a:schemeClr val="bg1"/>
                    </a:gs>
                    <a:gs pos="100000">
                      <a:srgbClr val="0E8BAB"/>
                    </a:gs>
                  </a:gsLst>
                  <a:lin ang="10800000" scaled="1"/>
                  <a:tileRect/>
                </a:gradFill>
              </a:rPr>
              <a:t>Companies must ensure that their AI systems are robust, accurate, and secure, and that they perform consistently in different environments.</a:t>
            </a:r>
          </a:p>
          <a:p>
            <a:pPr marL="0" indent="0">
              <a:lnSpc>
                <a:spcPct val="120000"/>
              </a:lnSpc>
              <a:spcBef>
                <a:spcPts val="0"/>
              </a:spcBef>
              <a:buNone/>
            </a:pPr>
            <a:r>
              <a:rPr lang="en-GB" sz="1400" dirty="0">
                <a:solidFill>
                  <a:schemeClr val="accent4"/>
                </a:solidFill>
              </a:rPr>
              <a:t>RECORD-KEEPING: </a:t>
            </a:r>
          </a:p>
          <a:p>
            <a:pPr>
              <a:lnSpc>
                <a:spcPct val="120000"/>
              </a:lnSpc>
              <a:spcBef>
                <a:spcPts val="0"/>
              </a:spcBef>
            </a:pPr>
            <a:r>
              <a:rPr lang="en-GB" sz="1400" dirty="0">
                <a:gradFill flip="none" rotWithShape="1">
                  <a:gsLst>
                    <a:gs pos="0">
                      <a:schemeClr val="bg1"/>
                    </a:gs>
                    <a:gs pos="100000">
                      <a:srgbClr val="0E8BAB"/>
                    </a:gs>
                  </a:gsLst>
                  <a:lin ang="10800000" scaled="1"/>
                  <a:tileRect/>
                </a:gradFill>
              </a:rPr>
              <a:t>Companies must keep records of their AI systems' development, testing, and deployment, and make them available to regulatory authorities upon request</a:t>
            </a:r>
          </a:p>
        </p:txBody>
      </p:sp>
      <p:sp>
        <p:nvSpPr>
          <p:cNvPr id="6" name="Date Placeholder 5">
            <a:extLst>
              <a:ext uri="{FF2B5EF4-FFF2-40B4-BE49-F238E27FC236}">
                <a16:creationId xmlns:a16="http://schemas.microsoft.com/office/drawing/2014/main" id="{DEFE27AA-2234-2A3D-86E9-415D2562FC69}"/>
              </a:ext>
            </a:extLst>
          </p:cNvPr>
          <p:cNvSpPr>
            <a:spLocks noGrp="1"/>
          </p:cNvSpPr>
          <p:nvPr>
            <p:ph type="dt" sz="half" idx="4294967295"/>
          </p:nvPr>
        </p:nvSpPr>
        <p:spPr>
          <a:xfrm>
            <a:off x="0" y="0"/>
            <a:ext cx="0" cy="0"/>
          </a:xfrm>
        </p:spPr>
        <p:txBody>
          <a:bodyPr/>
          <a:lstStyle/>
          <a:p>
            <a:fld id="{05E04F24-5183-4938-80E6-05C4A9FE65AC}" type="datetime1">
              <a:rPr lang="en-IE" smtClean="0"/>
              <a:pPr/>
              <a:t>25/03/2024</a:t>
            </a:fld>
            <a:endParaRPr lang="en-GB"/>
          </a:p>
        </p:txBody>
      </p:sp>
      <p:sp>
        <p:nvSpPr>
          <p:cNvPr id="8" name="Slide Number Placeholder 7">
            <a:extLst>
              <a:ext uri="{FF2B5EF4-FFF2-40B4-BE49-F238E27FC236}">
                <a16:creationId xmlns:a16="http://schemas.microsoft.com/office/drawing/2014/main" id="{183D78E3-B449-4D7B-BD09-5B0C79498DA3}"/>
              </a:ext>
            </a:extLst>
          </p:cNvPr>
          <p:cNvSpPr>
            <a:spLocks noGrp="1"/>
          </p:cNvSpPr>
          <p:nvPr>
            <p:ph type="sldNum" sz="quarter" idx="4294967295"/>
          </p:nvPr>
        </p:nvSpPr>
        <p:spPr>
          <a:xfrm>
            <a:off x="0" y="0"/>
            <a:ext cx="0" cy="0"/>
          </a:xfrm>
        </p:spPr>
        <p:txBody>
          <a:bodyPr/>
          <a:lstStyle/>
          <a:p>
            <a:fld id="{C3D59E75-5B20-4381-9776-4576305CCD61}" type="slidenum">
              <a:rPr lang="nl-BE" smtClean="0"/>
              <a:pPr/>
              <a:t>9</a:t>
            </a:fld>
            <a:endParaRPr lang="nl-BE"/>
          </a:p>
        </p:txBody>
      </p:sp>
      <p:sp>
        <p:nvSpPr>
          <p:cNvPr id="12" name="TextBox 11">
            <a:extLst>
              <a:ext uri="{FF2B5EF4-FFF2-40B4-BE49-F238E27FC236}">
                <a16:creationId xmlns:a16="http://schemas.microsoft.com/office/drawing/2014/main" id="{C449AD5B-070C-E518-CDCF-2B07F737776F}"/>
              </a:ext>
            </a:extLst>
          </p:cNvPr>
          <p:cNvSpPr txBox="1"/>
          <p:nvPr/>
        </p:nvSpPr>
        <p:spPr>
          <a:xfrm>
            <a:off x="2977549" y="6670783"/>
            <a:ext cx="10135860" cy="215444"/>
          </a:xfrm>
          <a:prstGeom prst="rect">
            <a:avLst/>
          </a:prstGeom>
          <a:noFill/>
        </p:spPr>
        <p:txBody>
          <a:bodyPr wrap="square" rtlCol="0">
            <a:spAutoFit/>
          </a:bodyPr>
          <a:lstStyle/>
          <a:p>
            <a:r>
              <a:rPr lang="en-US" sz="800" b="1" dirty="0"/>
              <a:t>* This material is for general information purposes only and it does not contain a complete description, analysis or advice.  </a:t>
            </a:r>
            <a:r>
              <a:rPr lang="en-US" sz="800" b="1" dirty="0" err="1"/>
              <a:t>Informations</a:t>
            </a:r>
            <a:r>
              <a:rPr lang="en-US" sz="800" b="1" dirty="0"/>
              <a:t> are based on the latest (</a:t>
            </a:r>
            <a:r>
              <a:rPr lang="en-US" sz="800" b="1" dirty="0">
                <a:solidFill>
                  <a:srgbClr val="0563C1"/>
                </a:solidFill>
              </a:rPr>
              <a:t>March</a:t>
            </a:r>
            <a:r>
              <a:rPr lang="en-US" sz="800" b="1" dirty="0">
                <a:hlinkClick r:id="rId4">
                  <a:extLst>
                    <a:ext uri="{A12FA001-AC4F-418D-AE19-62706E023703}">
                      <ahyp:hlinkClr xmlns:ahyp="http://schemas.microsoft.com/office/drawing/2018/hyperlinkcolor" val="tx"/>
                    </a:ext>
                  </a:extLst>
                </a:hlinkClick>
              </a:rPr>
              <a:t> 2024) version of the AI Act</a:t>
            </a:r>
            <a:r>
              <a:rPr lang="en-US" sz="800" b="1" dirty="0"/>
              <a:t>.</a:t>
            </a:r>
            <a:endParaRPr lang="de-AT" sz="800" dirty="0"/>
          </a:p>
        </p:txBody>
      </p:sp>
    </p:spTree>
    <p:extLst>
      <p:ext uri="{BB962C8B-B14F-4D97-AF65-F5344CB8AC3E}">
        <p14:creationId xmlns:p14="http://schemas.microsoft.com/office/powerpoint/2010/main" val="8500506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MBAQEBAQEBAQEBAQEBAQIAAAAAAAAAAwAAAAMAAAAA/////wQAAwwAAAAAAAAAAAAAIAD///////////////8AAAD///////////////8DAAAAAwD///////8DAAAAAwD///////8DAAAAAwD///////8DAAAAAwD///////8DAAAAAwD///////////////////////////////////////////////////////////////////////////////////////////////////////////////////////////////////////////////////////////////////////////////////////////////////////////////////////////////////////////////////////////////////////////////////////////////////////////////////////////////////////////////////////////////////////////////////////////////////////////////////////////////////////////////8BACAA////////////////AAAO////////AwAAAAIA////////////////////////////////////////////////////////////////////////////////////////////////////////////////////////////////////////////////////////////////////////////////////////////////////////////////////////////////////////////////////////////////////////////////////////////////////////////////////////////////////////////////////////////////////////////////////////////////////////////////////////////////////////////////////////////////////////////////////////////////////////////////////////AgADAP///////wQAAAACABAACxO6Z3uAv1REijiQd7UDSUYFAAAAAAADAAAAAwADAAAAAQADAAAAAwD///////8DAAAAAwD///////8DAAUA////////BAAAAAMAEAALWfpoNnjGnUeNyOfpyzap0gUAAAABAAMAAAAAAAMAAAACAAMAAAAAAAMAAAACAAMAAAAAAAMAAAACAA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BQMAAAAAAAAAAAAACAB////////////////AAAA////////////////BAAAAAMA////////BAAAAAIA////////BAAAAAIA////////////////////////////////////////////////////////////////////////////////////////////////////////////////////////////////////////////////////////////////////////////////////////////////////////////////////////////////////////////////////////////////////////////////////////////////////////////////////////////////////////////////////////////////////////////////////////////////////////////////////////////////////////////////////////////////////////////////AQAgAf///////////////wAADv///////wQAAAACAP///////////////////////////////////////////////////////////////////////////////////////////////////////////////////////////////////////////////////////////////////////////////////////////////////////////////////////////////////////////////////////////////////////////////////////////////////////////////////////////////////////////////////////////////////////////////////////////////////////////////////////////////////////////////////////////////////////////////////////////////////////////////////////wIAAwEDAAAAAgD///////8aAAZMaW5rZWRTaGFwZXNEYXRhUHJvcGVydHlfMAUAAAAAAAQAAAADAAQAAAABAAQAAAAAAP///////w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BO6Z3uAv1REijiQd7UDSUYDRGF0YQAbAAAABExpbmtlZFNoYXBlRGF0YQAFAAAAAAACTmFtZQAZAAAATGlua2VkU2hhcGVzRGF0YVByb3BlcnR5ABBWZXJzaW9uAAAAAAAJTGFzdFdyaXRlACQdTyh9AQAAAAEA/////8YAxgAAAAVfaWQAEAAAAARZ+mg2eMadR43I5+nLNqnSA0RhdGEAUwAAAAhQcmVzZW50YXRpb25TY2FubmVkRm9yTGlua2VkU2hhcGVzAAECTnVtYmVyRm9ybWF0U2VwYXJhdG9yTW9kZQAKAAAAQXV0b21hdGljAAACTmFtZQAkAAAATGlua2VkU2hhcGVQcmVzZW50YXRpb25TZXR0aW5nc0RhdGEAEFZlcnNpb24AAAAAAAlMYXN0V3JpdGUAQR1PKH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xP4HoGc2StGskqIG0nD1S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P4HoGc2StGskqIG0nD1SEDRGF0YQAWAAAAAlBlcnNvbmFsSWQAAQAAAAAAAk5hbWUACwAAAFBlcnNvbmFsSWQAEFZlcnNpb24AAAAAAAlMYXN0V3JpdGUA5TX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505190957"/>
  <p:tag name="EMPOWERCHARTSPROPERTIES_A_LENGTH" val="24576"/>
  <p:tag name="RUNTIME_ID" val="f973475a-e62a-4ba3-9eac-a02cd75c6766"/>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6/1QBetL+lDsq0N8kAPRy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1QBetL+lDsq0N8kAPRyoDRGF0YQAWAAAAAlBlcnNvbmFsSWQAAQAAAAAAAk5hbWUACwAAAFBlcnNvbmFsSWQAEFZlcnNpb24AAAAAAAlMYXN0V3JpdGUANDb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505965932"/>
  <p:tag name="EMPOWERCHARTSPROPERTIES_A_LENGTH" val="24576"/>
  <p:tag name="RUNTIME_ID" val="30f42abf-9b77-4616-b5f1-656459504cdf"/>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cBAQEBAQEBAQEBAQEBAQEAAAAAAAAAAwAAAAMAAAAA/////wMAgAwAAAAAAAAAAAAAIAD///////////////8AAAD///////////////8DAAAAAgD///////////////////////////////////////////////////////////////////////////////////////////////////////////////////////////////////////////////////////////////////////////////////////////////////////////////////////////////////////////////////////////////////////////////////////////////////////////////////////////////////////////////////////////////////////////////////////////////////////////////////////////////////////////////////////////////////////////////////////////////////////////////8BACAA////////////////AAAO////////AwAAAAIA////////////////////////////////////////////////////////////////////////////////////////////////////////////////////////////////////////////////////////////////////////////////////////////////////////////////////////////////////////////////////////////////////////////////////////////////////////////////////////////////////////////////////////////////////////////////////////////////////////////////////////////////////////////////////////////////////////////////////////////////////////////////////////AgABAP///////wQAAAACABAAC2P++2bLDVtGv6FYxnGei2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DwMAAAAAAAAAAAAACAB////////////////AAAA////////////////BAAAAAIA////////BAAAAAIA////////BAAAAAIA////////BAAAAAIA////////BAAAAAIA////////BAAAAAIA////////BAAAAAIA////////////////////////////////////////////////////////////////////////////////////////////////////////////////////////////////////////////////////////////////////////////////////////////////////////////////////////////////////////////////////////////////////////////////////////////////////////////////////////////////////////////////////////////////////////////////////////////////////////////////AQAgAf///////////////wAADv///////wQAAAACAP///////////////////////////////////////////////////////////////////////////////////////////////////////////////////////////////////////////////////////////////////////////////////////////////////////////////////////////////////////////////////////////////////////////////////////////////////////////////////////////////////////////////////////////////////////////////////////////////////////////////////////////////////////////////////////////////////////////////////////////////////////////////////////wIABwEDAAAAAgD///////8MAAZQZXJzb25hbElkXzAFAAAAAAAEAAAAAAAEAAAAAQAEAAAAAAD///////8EAAAAAAD///////8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P++2bLDVtGv6FYxnGei2ADRGF0YQAWAAAAAlBlcnNvbmFsSWQAAQAAAAAAAk5hbWUACwAAAFBlcnNvbmFsSWQAEFZlcnNpb24AAAAAAAlMYXN0V3JpdGUAVDb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506280247"/>
  <p:tag name="EMPOWERCHARTSPROPERTIES_A_LENGTH" val="24576"/>
  <p:tag name="RUNTIME_ID" val="5281b7cc-8d55-476d-b7b5-2b63620f5031"/>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2bix/3kibVCq92MUFZzO6E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bix/3kibVCq92MUFZzO6EDRGF0YQAWAAAAAlBlcnNvbmFsSWQAAQAAAAAAAk5hbWUACwAAAFBlcnNvbmFsSWQAEFZlcnNpb24AAAAAAAlMYXN0V3JpdGUAtjX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504709620"/>
  <p:tag name="EMPOWERCHARTSPROPERTIES_A_LENGTH" val="24576"/>
  <p:tag name="RUNTIME_ID" val="bcf4f63d-52e2-45ed-9d0d-2abcf4d0bddc"/>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76RE8G89VKl25WVpoIJ2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76RE8G89VKl25WVpoIJ2kDRGF0YQAWAAAAAlBlcnNvbmFsSWQAAQAAAAAAAk5hbWUACwAAAFBlcnNvbmFsSWQAEFZlcnNpb24AAAAAAAlMYXN0V3JpdGUABTb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505650359"/>
  <p:tag name="EMPOWERCHARTSPROPERTIES_A_LENGTH" val="24576"/>
  <p:tag name="RUNTIME_ID" val="33b2ad3a-00cd-4390-9b0f-16d7e19f42d0"/>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3Tgh32tPi1DuAmi8p2jIT0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Tgh32tPi1DuAmi8p2jIT0DRGF0YQAWAAAAAlBlcnNvbmFsSWQAAQAAAAAAAk5hbWUACwAAAFBlcnNvbmFsSWQAEFZlcnNpb24AAAAAAAlMYXN0V3JpdGUADsv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4692400"/>
  <p:tag name="EMPOWERCHARTSPROPERTIES_A_LENGTH" val="24576"/>
  <p:tag name="RUNTIME_ID" val="7ddbacb5-3913-4372-8bc4-fffb3b21c6bc"/>
</p:tagLst>
</file>

<file path=ppt/tags/tag1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x9gs8W/RyNInUkKGV+Mx3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9gs8W/RyNInUkKGV+Mx3kDRGF0YQAWAAAAAlBlcnNvbmFsSWQAAQAAAAAAAk5hbWUACwAAAFBlcnNvbmFsSWQAEFZlcnNpb24AAAAAAAlMYXN0V3JpdGUAbMv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5478927"/>
  <p:tag name="EMPOWERCHARTSPROPERTIES_A_LENGTH" val="24576"/>
  <p:tag name="RUNTIME_ID" val="38f9f6ac-8d69-4dc2-a71b-326bafff0c1a"/>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4913psUj9dMr+fcYF6/rt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913psUj9dMr+fcYF6/rt4DRGF0YQAWAAAAAlBlcnNvbmFsSWQAAQAAAAAAAk5hbWUACwAAAFBlcnNvbmFsSWQAEFZlcnNpb24AAAAAAAlMYXN0V3JpdGUAm8v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5947744"/>
  <p:tag name="EMPOWERCHARTSPROPERTIES_A_LENGTH" val="24576"/>
  <p:tag name="RUNTIME_ID" val="06030ce8-6063-4e13-b33a-a2a72482b614"/>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6S3AIW0MpZAndXtxiSffXo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S3AIW0MpZAndXtxiSffXoDRGF0YQAWAAAAAlBlcnNvbmFsSWQAAQAAAAAAAk5hbWUACwAAAFBlcnNvbmFsSWQAEFZlcnNpb24AAAAAAAlMYXN0V3JpdGUAGMz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7372091"/>
  <p:tag name="EMPOWERCHARTSPROPERTIES_A_LENGTH" val="24576"/>
  <p:tag name="RUNTIME_ID" val="bd233ee8-b6b7-4069-b848-30769314026e"/>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HdXqawLpBstf4Wwqpd4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HdXqawLpBstf4Wwqpd4YDRGF0YQAWAAAAAlBlcnNvbmFsSWQAAQAAAAAAAk5hbWUACwAAAFBlcnNvbmFsSWQAEFZlcnNpb24AAAAAAAlMYXN0V3JpdGUAeMz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8174537"/>
  <p:tag name="EMPOWERCHARTSPROPERTIES_A_LENGTH" val="24576"/>
  <p:tag name="RUNTIME_ID" val="fdeab53e-125b-495d-a97d-a29480d3ee64"/>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wMAgAwAAAAAAAAAAAAAIAD///////////////8AAAD///////////////8DAAAAAgD///////////////////////////////////////////////////////////////////////////////////////////////////////////////////////////////////////////////////////////////////////////////////////////////////////////////////////////////////////////////////////////////////////////////////////////////////////////////////////////////////////////////////////////////////////////////////////////////////////////////////////////////////////////////////////////////////////////////////////////////////////////////8BACAA////////////////AAAO////////AwAAAAIA////////////////////////////////////////////////////////////////////////////////////////////////////////////////////////////////////////////////////////////////////////////////////////////////////////////////////////////////////////////////////////////////////////////////////////////////////////////////////////////////////////////////////////////////////////////////////////////////////////////////////////////////////////////////////////////////////////////////////////////////////////////////////////AgABAP///////wQAAAACABAACxrAvBg9/S1ArIE237V10Ds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rAvBg9/S1ArIE237V10DsDRGF0YQAWAAAAAlBlcnNvbmFsSWQAAQAAAAAAAk5hbWUACwAAAFBlcnNvbmFsSWQAEFZlcnNpb24AAAAAAAlMYXN0V3JpdGUAATP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497923282"/>
  <p:tag name="EMPOWERCHARTSPROPERTIES_A_LENGTH" val="24576"/>
  <p:tag name="RUNTIME_ID" val="225d4607-5333-4c1c-b51c-5d57898a6dbb"/>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EAAAAAAAAAAwAAAAMAAAAA/////wMAaAwAAAAAAAAAAAAAIAD///////////////8AAAD///////////////8DAAAAAgD///////8DAAAAAgD///////8DAAAAAgD///////////////////////////////////////////////////////////////////////////////////////////////////////////////////////////////////////////////////////////////////////////////////////////////////////////////////////////////////////////////////////////////////////////////////////////////////////////////////////////////////////////////////////////////////////////////////////////////////////////////////////////////////////////////////////////////////////////////8BACAA////////////////AAAO////////AwAAAAIA////////////////////////////////////////////////////////////////////////////////////////////////////////////////////////////////////////////////////////////////////////////////////////////////////////////////////////////////////////////////////////////////////////////////////////////////////////////////////////////////////////////////////////////////////////////////////////////////////////////////////////////////////////////////////////////////////////////////////////////////////////////////////////AgADAP///////wQAAAACABAACyzzYXq7RdVKmg0UtMWvr8Y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EgMAAAAAAAAAAAAACAB////////////////AAAA////////////////BAAAAAIA////////BAAAAAIA////////BAAAAAIA////////BAAAAAIA////////BAAAAAIA////////BAAAAAIA////////////////////////////////////////////////////////////////////////////////////////////////////////////////////////////////////////////////////////////////////////////////////////////////////////////////////////////////////////////////////////////////////////////////////////////////////////////////////////////////////////////////////////////////////////////////////////////////////////////////////////////////AQAgAf///////////////wAADv///////wQAAAACAP///////////////////////////////////////////////////////////////////////////////////////////////////////////////////////////////////////////////////////////////////////////////////////////////////////////////////////////////////////////////////////////////////////////////////////////////////////////////////////////////////////////////////////////////////////////////////////////////////////////////////////////////////////////////////////////////////////////////////////////////////////////////////////wIABgEDAAAAAgD///////8MAAZQZXJzb25hbElkXzAFAAAAAAAEAAAAAAAEAAAAAQAEAAAAAAD///////8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zzYXq7RdVKmg0UtMWvr8YDRGF0YQAWAAAAAlBlcnNvbmFsSWQAAQAAAAAAAk5hbWUACwAAAFBlcnNvbmFsSWQAEFZlcnNpb24AAAAAAAlMYXN0V3JpdGUAmMz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8479015"/>
  <p:tag name="EMPOWERCHARTSPROPERTIES_A_LENGTH" val="24576"/>
  <p:tag name="RUNTIME_ID" val="ba15514a-1b69-4720-ae53-151b1ae0bc91"/>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xvKv2gWtMxMpTQcY87U0wc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vKv2gWtMxMpTQcY87U0wcDRGF0YQAWAAAAAlBlcnNvbmFsSWQAAQAAAAAAAk5hbWUACwAAAFBlcnNvbmFsSWQAEFZlcnNpb24AAAAAAAlMYXN0V3JpdGUAx8z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8948707"/>
  <p:tag name="EMPOWERCHARTSPROPERTIES_A_LENGTH" val="24576"/>
  <p:tag name="RUNTIME_ID" val="5194c570-afe9-4bcb-82e1-edb059a0279c"/>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kzkmx/GAZMgsODrGPR49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kzkmx/GAZMgsODrGPR494DRGF0YQAWAAAAAlBlcnNvbmFsSWQAAQAAAAAAAk5hbWUACwAAAFBlcnNvbmFsSWQAEFZlcnNpb24AAAAAAAlMYXN0V3JpdGUA9sz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9422634"/>
  <p:tag name="EMPOWERCHARTSPROPERTIES_A_LENGTH" val="24576"/>
  <p:tag name="RUNTIME_ID" val="cbe27786-c313-4883-92d3-d357dbbb218c"/>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42tcYluutNBqQur3fPBG3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2tcYluutNBqQur3fPBG3oDRGF0YQAWAAAAAlBlcnNvbmFsSWQAAQAAAAAAAk5hbWUACwAAAFBlcnNvbmFsSWQAEFZlcnNpb24AAAAAAAlMYXN0V3JpdGUAJs3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79900112"/>
  <p:tag name="EMPOWERCHARTSPROPERTIES_A_LENGTH" val="24576"/>
  <p:tag name="RUNTIME_ID" val="12ea4aed-a442-4021-97f9-dcf955d04fc9"/>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zLd+MQo6O9PvvskxFN6IHk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Ld+MQo6O9PvvskxFN6IHkDRGF0YQAWAAAAAlBlcnNvbmFsSWQAAQAAAAAAAk5hbWUACwAAAFBlcnNvbmFsSWQAEFZlcnNpb24AAAAAAAlMYXN0V3JpdGUAVc3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80376949"/>
  <p:tag name="EMPOWERCHARTSPROPERTIES_A_LENGTH" val="24576"/>
  <p:tag name="RUNTIME_ID" val="3c6d7324-2330-4186-be11-942386cf592b"/>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8pOtWmnoZhIupenTDgYEcI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pOtWmnoZhIupenTDgYEcIDRGF0YQAWAAAAAlBlcnNvbmFsSWQAAQAAAAAAAk5hbWUACwAAAFBlcnNvbmFsSWQAEFZlcnNpb24AAAAAAAlMYXN0V3JpdGUAhc3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80846844"/>
  <p:tag name="EMPOWERCHARTSPROPERTIES_A_LENGTH" val="24576"/>
  <p:tag name="RUNTIME_ID" val="6c87fd88-8ee0-49b4-a083-adb6ebef085e"/>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zmtu2Wknw1CvH/Ek0OHR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mtu2Wknw1CvH/Ek0OHRRoDRGF0YQAWAAAAAlBlcnNvbmFsSWQAAQAAAAAAAk5hbWUACwAAAFBlcnNvbmFsSWQAEFZlcnNpb24AAAAAAAlMYXN0V3JpdGUApM3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81178276"/>
  <p:tag name="EMPOWERCHARTSPROPERTIES_A_LENGTH" val="24576"/>
  <p:tag name="RUNTIME_ID" val="e22a07c5-b7bc-4f81-be2f-960d20cb8035"/>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5TTOd1OgfpCnfNIz11yxTc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TTOd1OgfpCnfNIz11yxTcDRGF0YQAWAAAAAlBlcnNvbmFsSWQAAQAAAAAAAk5hbWUACwAAAFBlcnNvbmFsSWQAEFZlcnNpb24AAAAAAAlMYXN0V3JpdGUA883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81947213"/>
  <p:tag name="EMPOWERCHARTSPROPERTIES_A_LENGTH" val="24576"/>
  <p:tag name="RUNTIME_ID" val="3292286d-a79f-4289-a9ca-cc5568d7d918"/>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y0hMa6KE+tFv2lo1rGj4U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0hMa6KE+tFv2lo1rGj4UEDRGF0YQAWAAAAAlBlcnNvbmFsSWQAAQAAAAAAAk5hbWUACwAAAFBlcnNvbmFsSWQAEFZlcnNpb24AAAAAAAlMYXN0V3JpdGUAIs7N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62482420546"/>
  <p:tag name="EMPOWERCHARTSPROPERTIES_A_LENGTH" val="24576"/>
  <p:tag name="RUNTIME_ID" val="c077424f-eed9-479f-b867-1f84f729db82"/>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EAAAAAAAAAAwAAAAMAAAAA/////wMAaAwAAAAAAAAAAAAAIAD///////////////8AAAD///////////////8DAAAAAgD///////8DAAAAAgD///////8DAAAAAgD///////////////////////////////////////////////////////////////////////////////////////////////////////////////////////////////////////////////////////////////////////////////////////////////////////////////////////////////////////////////////////////////////////////////////////////////////////////////////////////////////////////////////////////////////////////////////////////////////////////////////////////////////////////////////////////////////////////////8BACAA////////////////AAAO////////AwAAAAIA////////////////////////////////////////////////////////////////////////////////////////////////////////////////////////////////////////////////////////////////////////////////////////////////////////////////////////////////////////////////////////////////////////////////////////////////////////////////////////////////////////////////////////////////////////////////////////////////////////////////////////////////////////////////////////////////////////////////////////////////////////////////////////AgADAP///////wQAAAACABAAC11TbG2KfiJGsvz5iLWiEEU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1TbG2KfiJGsvz5iLWiEEUDRGF0YQAWAAAAAlBlcnNvbmFsSWQAAQAAAAAAAk5hbWUACwAAAFBlcnNvbmFsSWQAEFZlcnNpb24AAAAAAAlMYXN0V3JpdGUAczb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506593151"/>
  <p:tag name="EMPOWERCHARTSPROPERTIES_A_LENGTH" val="24576"/>
  <p:tag name="RUNTIME_ID" val="995ad327-352e-418b-a385-b3e08e388cc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BYqsWRu3FBhMb9PRBxna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BYqsWRu3FBhMb9PRBxnagDRGF0YQAWAAAAAlBlcnNvbmFsSWQAAQAAAAAAAk5hbWUACwAAAFBlcnNvbmFsSWQAEFZlcnNpb24AAAAAAAlMYXN0V3JpdGUALzP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498235950"/>
  <p:tag name="EMPOWERCHARTSPROPERTIES_A_LENGTH" val="24576"/>
  <p:tag name="RUNTIME_ID" val="19838807-e069-477d-be1d-6fb0117de0c7"/>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5U/VXf+r1Hv7F0RO82Mto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5U/VXf+r1Hv7F0RO82MtoDRGF0YQAWAAAAAlBlcnNvbmFsSWQAAQAAAAAAAk5hbWUACwAAAFBlcnNvbmFsSWQAEFZlcnNpb24AAAAAAAlMYXN0V3JpdGUAXjP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498704614"/>
  <p:tag name="EMPOWERCHARTSPROPERTIES_A_LENGTH" val="24576"/>
  <p:tag name="RUNTIME_ID" val="eb00c055-c673-4684-b67f-584fefa21f3e"/>
</p:tagLst>
</file>

<file path=ppt/tags/tag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63aW+BJzZlBhRr5IbkqNl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3aW+BJzZlBhRr5IbkqNlQDRGF0YQAWAAAAAlBlcnNvbmFsSWQAAQAAAAAAAk5hbWUACwAAAFBlcnNvbmFsSWQAEFZlcnNpb24AAAAAAAlMYXN0V3JpdGUAbjP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498880940"/>
  <p:tag name="EMPOWERCHARTSPROPERTIES_A_LENGTH" val="24576"/>
  <p:tag name="RUNTIME_ID" val="c488350f-9e3c-483f-8f75-fe6150f8574e"/>
</p:tagLst>
</file>

<file path=ppt/tags/tag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cBAQEBAQEBAQEBAQEBAQEAAAAAAAAAAwAAAAMAAAAA/////wMAdAwAAAAAAAAAAAAAIAD///////////////8AAAD///////////////8DAAAAAgD///////8DAAAAAgD///////////////////////////////////////////////////////////////////////////////////////////////////////////////////////////////////////////////////////////////////////////////////////////////////////////////////////////////////////////////////////////////////////////////////////////////////////////////////////////////////////////////////////////////////////////////////////////////////////////////////////////////////////////////////////////////////////////////////////////////8BACAA////////////////AAAO////////AwAAAAIA////////////////////////////////////////////////////////////////////////////////////////////////////////////////////////////////////////////////////////////////////////////////////////////////////////////////////////////////////////////////////////////////////////////////////////////////////////////////////////////////////////////////////////////////////////////////////////////////////////////////////////////////////////////////////////////////////////////////////////////////////////////////////////AgACAP///////wQAAAACABAAC7lZ00+BY05OvHmrFqnisAU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DwMAAAAAAAAAAAAACAB////////////////AAAA////////////////BAAAAAIA////////BAAAAAIA////////BAAAAAIA////////BAAAAAIA////////BAAAAAIA////////BAAAAAIA////////BAAAAAIA////////////////////////////////////////////////////////////////////////////////////////////////////////////////////////////////////////////////////////////////////////////////////////////////////////////////////////////////////////////////////////////////////////////////////////////////////////////////////////////////////////////////////////////////////////////////////////////////////////////////AQAgAf///////////////wAADv///////wQAAAACAP///////////////////////////////////////////////////////////////////////////////////////////////////////////////////////////////////////////////////////////////////////////////////////////////////////////////////////////////////////////////////////////////////////////////////////////////////////////////////////////////////////////////////////////////////////////////////////////////////////////////////////////////////////////////////////////////////////////////////////////////////////////////////////wIABwEDAAAAAgD///////8MAAZQZXJzb25hbElkXzAFAAAAAAAEAAAAAAAEAAAAAQAEAAAAAAD///////8EAAAAAAD///////8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lZ00+BY05OvHmrFqnisAUDRGF0YQAWAAAAAlBlcnNvbmFsSWQAAQAAAAAAAk5hbWUACwAAAFBlcnNvbmFsSWQAEFZlcnNpb24AAAAAAAlMYXN0V3JpdGUAjjP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499334073"/>
  <p:tag name="EMPOWERCHARTSPROPERTIES_A_LENGTH" val="24576"/>
  <p:tag name="RUNTIME_ID" val="e59d7c9f-faaf-486f-9bd5-51ba5178d085"/>
</p:tagLst>
</file>

<file path=ppt/tags/tag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qKvyrxRvZDpjzLtp6Asu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qKvyrxRvZDpjzLtp6AsuEDRGF0YQAWAAAAAlBlcnNvbmFsSWQAAQAAAAAAAk5hbWUACwAAAFBlcnNvbmFsSWQAEFZlcnNpb24AAAAAAAlMYXN0V3JpdGUArjP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499494495"/>
  <p:tag name="EMPOWERCHARTSPROPERTIES_A_LENGTH" val="24576"/>
  <p:tag name="RUNTIME_ID" val="a5352f5f-6ca3-4a51-ba19-132d225ccad5"/>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EAAAAAAAAAAwAAAAMAAAAA/////wMAaAwAAAAAAAAAAAAAIAD///////////////8AAAD///////////////8DAAAAAgD///////8DAAAAAgD///////8DAAAAAgD///////////////////////////////////////////////////////////////////////////////////////////////////////////////////////////////////////////////////////////////////////////////////////////////////////////////////////////////////////////////////////////////////////////////////////////////////////////////////////////////////////////////////////////////////////////////////////////////////////////////////////////////////////////////////////////////////////////////8BACAA////////////////AAAO////////AwAAAAIA////////////////////////////////////////////////////////////////////////////////////////////////////////////////////////////////////////////////////////////////////////////////////////////////////////////////////////////////////////////////////////////////////////////////////////////////////////////////////////////////////////////////////////////////////////////////////////////////////////////////////////////////////////////////////////////////////////////////////////////////////////////////////////AgADAP///////wQAAAACABAAC2RldUzV2iVOobBxMp92s08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RldUzV2iVOobBxMp92s08DRGF0YQAWAAAAAlBlcnNvbmFsSWQAAQAAAAAAAk5hbWUACwAAAFBlcnNvbmFsSWQAEFZlcnNpb24AAAAAAAlMYXN0V3JpdGUAzTP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499884306"/>
  <p:tag name="EMPOWERCHARTSPROPERTIES_A_LENGTH" val="24576"/>
  <p:tag name="RUNTIME_ID" val="eedd5a85-5d20-4291-8338-481a02f99b64"/>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2zRTVHrIxFg73vqKrx/5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2zRTVHrIxFg73vqKrx/50DRGF0YQAWAAAAAlBlcnNvbmFsSWQAAQAAAAAAAk5hbWUACwAAAFBlcnNvbmFsSWQAEFZlcnNpb24AAAAAAAlMYXN0V3JpdGUA7DPG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7500122577"/>
  <p:tag name="EMPOWERCHARTSPROPERTIES_A_LENGTH" val="24576"/>
  <p:tag name="RUNTIME_ID" val="adea1fe6-61a0-43a8-a932-5a99a06d7bbc"/>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2929E1EEAC7E24DA62AEE16D494C08A" ma:contentTypeVersion="23" ma:contentTypeDescription="Create a new document." ma:contentTypeScope="" ma:versionID="6365f9de16e3d8633ae9eddf830bfbfd">
  <xsd:schema xmlns:xsd="http://www.w3.org/2001/XMLSchema" xmlns:xs="http://www.w3.org/2001/XMLSchema" xmlns:p="http://schemas.microsoft.com/office/2006/metadata/properties" xmlns:ns2="475c79b2-fc63-4731-bfad-4dae6faf9454" xmlns:ns3="d56e2ab2-a8d9-483d-b773-ff6010b093b3" targetNamespace="http://schemas.microsoft.com/office/2006/metadata/properties" ma:root="true" ma:fieldsID="4652a4074ec8700d0f61fcbeb20f0b00" ns2:_="" ns3:_="">
    <xsd:import namespace="475c79b2-fc63-4731-bfad-4dae6faf9454"/>
    <xsd:import namespace="d56e2ab2-a8d9-483d-b773-ff6010b093b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eting" minOccurs="0"/>
                <xsd:element ref="ns2:DAAITopic" minOccurs="0"/>
                <xsd:element ref="ns2:DocumentType" minOccurs="0"/>
                <xsd:element ref="ns2:Year" minOccurs="0"/>
                <xsd:element ref="ns2:Month" minOccurs="0"/>
                <xsd:element ref="ns2:lcf76f155ced4ddcb4097134ff3c332f" minOccurs="0"/>
                <xsd:element ref="ns3:TaxCatchAll" minOccurs="0"/>
                <xsd:element ref="ns2:MediaLengthInSecond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75c79b2-fc63-4731-bfad-4dae6faf945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eting" ma:index="19" nillable="true" ma:displayName="Meeting" ma:format="DateOnly" ma:internalName="Meeting">
      <xsd:simpleType>
        <xsd:restriction base="dms:DateTime"/>
      </xsd:simpleType>
    </xsd:element>
    <xsd:element name="DAAITopic" ma:index="20" nillable="true" ma:displayName="DA&amp;AI Topic" ma:format="Dropdown" ma:internalName="DAAITopic">
      <xsd:simpleType>
        <xsd:restriction base="dms:Choice">
          <xsd:enumeration value="Data Strategy"/>
          <xsd:enumeration value="Data Management"/>
          <xsd:enumeration value="Data Governance"/>
          <xsd:enumeration value="Data Quality"/>
          <xsd:enumeration value="Intelligent Insights"/>
          <xsd:enumeration value="Advanced Analytics"/>
        </xsd:restriction>
      </xsd:simpleType>
    </xsd:element>
    <xsd:element name="DocumentType" ma:index="21" nillable="true" ma:displayName="Document Type" ma:format="Dropdown" ma:internalName="DocumentType">
      <xsd:simpleType>
        <xsd:restriction base="dms:Choice">
          <xsd:enumeration value="CV"/>
          <xsd:enumeration value="Proposal"/>
          <xsd:enumeration value="Qual"/>
          <xsd:enumeration value="Literature"/>
          <xsd:enumeration value="Template"/>
          <xsd:enumeration value="Meeting Presentation"/>
        </xsd:restriction>
      </xsd:simpleType>
    </xsd:element>
    <xsd:element name="Year" ma:index="22" nillable="true" ma:displayName="Year" ma:decimals="0" ma:format="Dropdown" ma:internalName="Year" ma:percentage="FALSE">
      <xsd:simpleType>
        <xsd:restriction base="dms:Number"/>
      </xsd:simpleType>
    </xsd:element>
    <xsd:element name="Month" ma:index="23" nillable="true" ma:displayName="Month" ma:format="Dropdown" ma:internalName="Month">
      <xsd:simpleType>
        <xsd:restriction base="dms:Choice">
          <xsd:enumeration value="Jan"/>
          <xsd:enumeration value="Feb"/>
          <xsd:enumeration value="Mar"/>
          <xsd:enumeration value="Apr"/>
          <xsd:enumeration value="May"/>
          <xsd:enumeration value="Jun"/>
          <xsd:enumeration value="Jul"/>
          <xsd:enumeration value="Aug"/>
          <xsd:enumeration value="Sep"/>
          <xsd:enumeration value="Okt"/>
          <xsd:enumeration value="Nov"/>
          <xsd:enumeration value="Dec"/>
        </xsd:restrictio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a8e8d813-e4e5-48d0-aeb8-e19ab3349c6b" ma:termSetId="09814cd3-568e-fe90-9814-8d621ff8fb84" ma:anchorId="fba54fb3-c3e1-fe81-a776-ca4b69148c4d" ma:open="true" ma:isKeyword="false">
      <xsd:complexType>
        <xsd:sequence>
          <xsd:element ref="pc:Terms" minOccurs="0" maxOccurs="1"/>
        </xsd:sequence>
      </xsd:complexType>
    </xsd:element>
    <xsd:element name="MediaLengthInSeconds" ma:index="27" nillable="true" ma:displayName="MediaLengthInSeconds" ma:hidden="true" ma:internalName="MediaLengthInSeconds" ma:readOnly="true">
      <xsd:simpleType>
        <xsd:restriction base="dms:Unknown"/>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56e2ab2-a8d9-483d-b773-ff6010b093b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6" nillable="true" ma:displayName="Taxonomy Catch All Column" ma:hidden="true" ma:list="{af3b9661-56f6-4089-8dd6-9ab5298ae959}" ma:internalName="TaxCatchAll" ma:showField="CatchAllData" ma:web="d56e2ab2-a8d9-483d-b773-ff6010b093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Year xmlns="475c79b2-fc63-4731-bfad-4dae6faf9454" xsi:nil="true"/>
    <Month xmlns="475c79b2-fc63-4731-bfad-4dae6faf9454" xsi:nil="true"/>
    <lcf76f155ced4ddcb4097134ff3c332f xmlns="475c79b2-fc63-4731-bfad-4dae6faf9454">
      <Terms xmlns="http://schemas.microsoft.com/office/infopath/2007/PartnerControls"/>
    </lcf76f155ced4ddcb4097134ff3c332f>
    <Meeting xmlns="475c79b2-fc63-4731-bfad-4dae6faf9454" xsi:nil="true"/>
    <DocumentType xmlns="475c79b2-fc63-4731-bfad-4dae6faf9454" xsi:nil="true"/>
    <DAAITopic xmlns="475c79b2-fc63-4731-bfad-4dae6faf9454" xsi:nil="true"/>
    <TaxCatchAll xmlns="d56e2ab2-a8d9-483d-b773-ff6010b093b3" xsi:nil="true"/>
    <SharedWithUsers xmlns="d56e2ab2-a8d9-483d-b773-ff6010b093b3">
      <UserInfo>
        <DisplayName>Michelle Vandormael</DisplayName>
        <AccountId>186</AccountId>
        <AccountType/>
      </UserInfo>
    </SharedWithUsers>
  </documentManagement>
</p:properties>
</file>

<file path=customXml/itemProps1.xml><?xml version="1.0" encoding="utf-8"?>
<ds:datastoreItem xmlns:ds="http://schemas.openxmlformats.org/officeDocument/2006/customXml" ds:itemID="{55461E2A-8B27-42A8-826C-82644AF9F1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75c79b2-fc63-4731-bfad-4dae6faf9454"/>
    <ds:schemaRef ds:uri="d56e2ab2-a8d9-483d-b773-ff6010b093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F7BB44-9EFD-47CD-AFE4-008B272AA03C}">
  <ds:schemaRefs>
    <ds:schemaRef ds:uri="http://schemas.microsoft.com/sharepoint/v3/contenttype/forms"/>
  </ds:schemaRefs>
</ds:datastoreItem>
</file>

<file path=customXml/itemProps3.xml><?xml version="1.0" encoding="utf-8"?>
<ds:datastoreItem xmlns:ds="http://schemas.openxmlformats.org/officeDocument/2006/customXml" ds:itemID="{BA70EF73-FEF0-484E-992B-92B958D98C54}">
  <ds:schemaRefs>
    <ds:schemaRef ds:uri="475c79b2-fc63-4731-bfad-4dae6faf9454"/>
    <ds:schemaRef ds:uri="http://purl.org/dc/elements/1.1/"/>
    <ds:schemaRef ds:uri="http://www.w3.org/XML/1998/namespace"/>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d56e2ab2-a8d9-483d-b773-ff6010b093b3"/>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4247</TotalTime>
  <Words>5728</Words>
  <Application>Microsoft Macintosh PowerPoint</Application>
  <PresentationFormat>Widescreen</PresentationFormat>
  <Paragraphs>503</Paragraphs>
  <Slides>28</Slides>
  <Notes>8</Notes>
  <HiddenSlides>0</HiddenSlides>
  <MMClips>1</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28</vt:i4>
      </vt:variant>
    </vt:vector>
  </HeadingPairs>
  <TitlesOfParts>
    <vt:vector size="42" baseType="lpstr">
      <vt:lpstr>Arial</vt:lpstr>
      <vt:lpstr>BearingPoint Sans L + C</vt:lpstr>
      <vt:lpstr>Calibri</vt:lpstr>
      <vt:lpstr>Courier New</vt:lpstr>
      <vt:lpstr>IBM Plex Sans</vt:lpstr>
      <vt:lpstr>inherit</vt:lpstr>
      <vt:lpstr>Lato</vt:lpstr>
      <vt:lpstr>Open Sans</vt:lpstr>
      <vt:lpstr>Open Sans Light</vt:lpstr>
      <vt:lpstr>Roboto</vt:lpstr>
      <vt:lpstr>Roboto Condensed</vt:lpstr>
      <vt:lpstr>Verdana</vt:lpstr>
      <vt:lpstr>Wingdings</vt:lpstr>
      <vt:lpstr>Office Theme</vt:lpstr>
      <vt:lpstr>PowerPoint Presentation</vt:lpstr>
      <vt:lpstr>Your Presenter</vt:lpstr>
      <vt:lpstr>PowerPoint Presentation</vt:lpstr>
      <vt:lpstr>Are we experiencing a  “monkey with a hand grenade” moment? </vt:lpstr>
      <vt:lpstr>What could go wrong with the application of (GEN)AI?</vt:lpstr>
      <vt:lpstr>The evolving landscape of regulations and standards shaping ethical data use.</vt:lpstr>
      <vt:lpstr>Establishing the US approach  to AI development and use</vt:lpstr>
      <vt:lpstr>EU AI ACT* Overview</vt:lpstr>
      <vt:lpstr>EU AI ACT* What are you expected to do?</vt:lpstr>
      <vt:lpstr>EU AI ACT* What are you expected to do?</vt:lpstr>
      <vt:lpstr>EU AI ACT* Overview</vt:lpstr>
      <vt:lpstr>Managing the “monkey with a hand grenade” AI risks Towards an AI Governance Framework</vt:lpstr>
      <vt:lpstr>AI Lifecycle Activities Handling the “monkey with a hand grenade” AI risks</vt:lpstr>
      <vt:lpstr>Towards a mature AI Governance Framework</vt:lpstr>
      <vt:lpstr>Towards a mature AI Governance Framework</vt:lpstr>
      <vt:lpstr>Towards a mature AI Governance Framework</vt:lpstr>
      <vt:lpstr>Towards a mature AI Governance Framework Assure AI Literacy</vt:lpstr>
      <vt:lpstr>Towards a mature AI Governance Framework Apply critical thinking</vt:lpstr>
      <vt:lpstr>Data Quality What are relevant dimensions to govern?</vt:lpstr>
      <vt:lpstr>Data Quality What specific AI and machine learning quality dimensions should be observed? </vt:lpstr>
      <vt:lpstr>Towards a mature AI Governance Framework AI Observability</vt:lpstr>
      <vt:lpstr>Extending the Data Governance Operating Model</vt:lpstr>
      <vt:lpstr>Getting ready to manage (Generative) AI?</vt:lpstr>
      <vt:lpstr>"With great power comes great responsibility!” Famous philosopher, Spider-Man </vt:lpstr>
      <vt:lpstr>Is your organization ready?        Take our self assessment</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NOTE</dc:title>
  <dc:creator>Henderyckx, Jan (AMS)</dc:creator>
  <cp:lastModifiedBy>Jan Henderyckx (AMS)</cp:lastModifiedBy>
  <cp:revision>3</cp:revision>
  <cp:lastPrinted>2024-03-11T07:58:09Z</cp:lastPrinted>
  <dcterms:created xsi:type="dcterms:W3CDTF">2021-11-07T08:40:29Z</dcterms:created>
  <dcterms:modified xsi:type="dcterms:W3CDTF">2024-03-25T17:3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929E1EEAC7E24DA62AEE16D494C08A</vt:lpwstr>
  </property>
  <property fmtid="{D5CDD505-2E9C-101B-9397-08002B2CF9AE}" pid="3" name="MediaServiceImageTags">
    <vt:lpwstr/>
  </property>
</Properties>
</file>